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64" r:id="rId3"/>
    <p:sldId id="267" r:id="rId4"/>
    <p:sldId id="268" r:id="rId5"/>
    <p:sldId id="272" r:id="rId6"/>
    <p:sldId id="271" r:id="rId7"/>
    <p:sldId id="273" r:id="rId8"/>
    <p:sldId id="263" r:id="rId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78" d="100"/>
          <a:sy n="78" d="100"/>
        </p:scale>
        <p:origin x="8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11ED6D-D1AF-4E82-8659-71E97CA3B816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1483AF-2754-4787-AE7A-157CAD698A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35712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ED6CE8-42E1-404D-A7BC-6AD6FA62186F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D8CC1D-7DB1-49DB-BE48-89D02AA6FD4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065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D481A-93A6-4BDE-979B-FDCF4E87A142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7129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DEB369-D082-4364-A6FE-F7FC21F6772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40596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D481A-93A6-4BDE-979B-FDCF4E87A142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47814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DEB369-D082-4364-A6FE-F7FC21F6772F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34852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D481A-93A6-4BDE-979B-FDCF4E87A142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06894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00" name="Заметки 99999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54429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" y="0"/>
            <a:ext cx="121791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0424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8EFDF-0998-4743-822B-3CB74FFEA70A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6406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8EFDF-0998-4743-822B-3CB74FFEA70A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27966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2" cstate="print"/>
          <a:stretch/>
        </p:blipFill>
        <p:spPr bwMode="auto">
          <a:xfrm>
            <a:off x="1" y="2116"/>
            <a:ext cx="12189884" cy="685588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3598151" y="2311214"/>
            <a:ext cx="4992555" cy="768085"/>
          </a:xfrm>
        </p:spPr>
        <p:txBody>
          <a:bodyPr anchor="ctr" anchorCtr="0"/>
          <a:lstStyle>
            <a:lvl1pPr algn="ctr">
              <a:defRPr sz="2667" b="1" cap="all"/>
            </a:lvl1pPr>
          </a:lstStyle>
          <a:p>
            <a:pPr>
              <a:defRPr/>
            </a:pPr>
            <a:r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1CEC436E-CE3C-4682-B005-F0BCEC66B693}" type="datetime1">
              <a:rPr lang="ru-RU"/>
              <a:pPr>
                <a:defRPr/>
              </a:pPr>
              <a:t>27.11.2023</a:t>
            </a:fld>
            <a:endParaRPr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3733521"/>
      </p:ext>
    </p:extLst>
  </p:cSld>
  <p:clrMapOvr>
    <a:masterClrMapping/>
  </p:clrMapOvr>
  <p:hf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8EFDF-0998-4743-822B-3CB74FFEA70A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0645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8EFDF-0998-4743-822B-3CB74FFEA70A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59160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8EFDF-0998-4743-822B-3CB74FFEA70A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73398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8EFDF-0998-4743-822B-3CB74FFEA70A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16046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8EFDF-0998-4743-822B-3CB74FFEA70A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30431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8EFDF-0998-4743-822B-3CB74FFEA70A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506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8EFDF-0998-4743-822B-3CB74FFEA70A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3744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8EFDF-0998-4743-822B-3CB74FFEA70A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55197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" y="0"/>
            <a:ext cx="121791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78EFDF-0998-4743-822B-3CB74FFEA70A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15E965-280A-43D4-8620-968D601C1B3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4757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4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hyperlink" Target="http://www.damu.kz/" TargetMode="External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hyperlink" Target="http://business.gov.kz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80216" y="1783544"/>
            <a:ext cx="6595969" cy="2235563"/>
          </a:xfrm>
        </p:spPr>
        <p:txBody>
          <a:bodyPr>
            <a:normAutofit/>
          </a:bodyPr>
          <a:lstStyle/>
          <a:p>
            <a:r>
              <a:rPr lang="ru-RU" sz="4500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ддержка социального предпринимательства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080216" y="6196437"/>
            <a:ext cx="1830947" cy="561975"/>
          </a:xfrm>
          <a:prstGeom prst="rect">
            <a:avLst/>
          </a:prstGeom>
        </p:spPr>
        <p:txBody>
          <a:bodyPr vert="horz" lIns="121920" tIns="60960" rIns="121920" bIns="6096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3000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023 год</a:t>
            </a:r>
            <a:endParaRPr lang="ru-RU" altLang="ru-RU" sz="3000" i="1" dirty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9935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203080" y="82717"/>
            <a:ext cx="6045048" cy="561975"/>
          </a:xfrm>
          <a:prstGeom prst="rect">
            <a:avLst/>
          </a:prstGeom>
        </p:spPr>
        <p:txBody>
          <a:bodyPr vert="horz" lIns="121920" tIns="60960" rIns="121920" bIns="6096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altLang="ru-RU" sz="2400" dirty="0">
                <a:latin typeface="Arial Narrow" panose="020B0606020202030204" pitchFamily="34" charset="0"/>
              </a:rPr>
              <a:t>Социальное предпринимательство</a:t>
            </a:r>
          </a:p>
          <a:p>
            <a:r>
              <a:rPr lang="ru-RU" altLang="ru-RU" sz="1600" i="1" dirty="0">
                <a:solidFill>
                  <a:srgbClr val="0858B8"/>
                </a:solidFill>
                <a:latin typeface="Arial Narrow" panose="020B0606020202030204" pitchFamily="34" charset="0"/>
              </a:rPr>
              <a:t>Что такое социальное предпринимательство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103445" y="2723373"/>
            <a:ext cx="10177131" cy="1761745"/>
          </a:xfrm>
          <a:prstGeom prst="rect">
            <a:avLst/>
          </a:prstGeom>
          <a:solidFill>
            <a:srgbClr val="D9E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tIns="480000" rIns="480000" bIns="480000" anchor="ctr" anchorCtr="0"/>
          <a:lstStyle/>
          <a:p>
            <a:pPr algn="ctr">
              <a:defRPr/>
            </a:pPr>
            <a:r>
              <a:rPr lang="ru-RU" sz="2667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циальное предпринимательство — это применение практик традиционного предпринимательства для достижения социальных целей или выполнения социальной миссии</a:t>
            </a:r>
          </a:p>
        </p:txBody>
      </p:sp>
      <p:sp>
        <p:nvSpPr>
          <p:cNvPr id="11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/>
          <a:p>
            <a:fld id="{48CA762F-A9F5-4407-AFC4-11D3F21C1EC6}" type="slidenum">
              <a:rPr lang="ru-RU" smtClean="0"/>
              <a:t>2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6856" y="1160992"/>
            <a:ext cx="1632181" cy="163218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171" y="1220755"/>
            <a:ext cx="1440160" cy="144016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9883" y="1124744"/>
            <a:ext cx="1536171" cy="1536171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0" y="4485117"/>
            <a:ext cx="12192000" cy="237288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0" tIns="480000" rIns="480000" bIns="480000" anchor="ctr" anchorCtr="0"/>
          <a:lstStyle/>
          <a:p>
            <a:pPr>
              <a:defRPr/>
            </a:pP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- согласно закону РК «О социальном предпринимательстве» </a:t>
            </a:r>
            <a:r>
              <a:rPr lang="ru-RU" sz="140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бъект социального предпринимательства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способствует занятости следующих категорий граждан (</a:t>
            </a:r>
            <a:r>
              <a:rPr lang="ru-RU" sz="140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е менее 50%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работников): </a:t>
            </a:r>
          </a:p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валиды;</a:t>
            </a:r>
          </a:p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дители и другие законные представители, воспитывающие ребенка-инвалида;</a:t>
            </a:r>
          </a:p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нсионеры и граждане </a:t>
            </a:r>
            <a:r>
              <a:rPr lang="ru-RU" sz="1200" dirty="0" err="1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едпенсионного</a:t>
            </a: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возраста;</a:t>
            </a:r>
          </a:p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оспитанники и выпускники детских домов и деревень, школ-интернатов для детей-сирот и детей, оставшихся без попечения родителей;</a:t>
            </a:r>
          </a:p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лица, освобожденные от отбывания наказания из учреждений уголовно-исполнительной системы;</a:t>
            </a:r>
          </a:p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лица без определенного места жительства;</a:t>
            </a:r>
          </a:p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дители и законные представители, относящиеся к малообеспеченным, многодетным или неполным семьям, а также многодетные матери;</a:t>
            </a:r>
          </a:p>
          <a:p>
            <a:pPr marL="228594" indent="-228594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лица, прошедшие медико-социальную реабилитацию наркологических больных или лечение зависимости от </a:t>
            </a:r>
            <a:r>
              <a:rPr lang="ru-RU" sz="1200" dirty="0" err="1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сихоактивных</a:t>
            </a:r>
            <a:r>
              <a:rPr lang="ru-RU" sz="12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веществ.</a:t>
            </a:r>
          </a:p>
        </p:txBody>
      </p:sp>
    </p:spTree>
    <p:extLst>
      <p:ext uri="{BB962C8B-B14F-4D97-AF65-F5344CB8AC3E}">
        <p14:creationId xmlns:p14="http://schemas.microsoft.com/office/powerpoint/2010/main" val="14159097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arallelogram 64"/>
          <p:cNvSpPr/>
          <p:nvPr/>
        </p:nvSpPr>
        <p:spPr>
          <a:xfrm>
            <a:off x="1103445" y="1408642"/>
            <a:ext cx="9217024" cy="1317831"/>
          </a:xfrm>
          <a:prstGeom prst="snip2DiagRect">
            <a:avLst/>
          </a:prstGeom>
          <a:gradFill>
            <a:gsLst>
              <a:gs pos="9275">
                <a:schemeClr val="bg2">
                  <a:lumMod val="90000"/>
                </a:schemeClr>
              </a:gs>
              <a:gs pos="0">
                <a:schemeClr val="accent1">
                  <a:lumMod val="0"/>
                  <a:lumOff val="100000"/>
                </a:schemeClr>
              </a:gs>
              <a:gs pos="35000">
                <a:schemeClr val="accent1">
                  <a:lumMod val="0"/>
                  <a:lumOff val="100000"/>
                </a:schemeClr>
              </a:gs>
              <a:gs pos="100000">
                <a:schemeClr val="accent1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rgbClr val="002060"/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дно из направлений ПРОГРАММЫ: поддержка субъектов социального предпринимательства </a:t>
            </a:r>
          </a:p>
          <a:p>
            <a:pPr algn="ctr">
              <a:defRPr/>
            </a:pPr>
            <a:r>
              <a:rPr lang="ru-RU" sz="1600" dirty="0">
                <a:solidFill>
                  <a:schemeClr val="tx2"/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бъектами социального предпринимательства обозначены индивидуальные предприниматели и юридические лица (за исключением субъектов крупного предпринимательства), включенные в реестр субъектов социального предпринимательств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64352" y="6315504"/>
            <a:ext cx="2844800" cy="365125"/>
          </a:xfrm>
          <a:noFill/>
        </p:spPr>
        <p:txBody>
          <a:bodyPr/>
          <a:lstStyle/>
          <a:p>
            <a:fld id="{48CA762F-A9F5-4407-AFC4-11D3F21C1EC6}" type="slidenum">
              <a:rPr lang="ru-RU" smtClean="0"/>
              <a:t>3</a:t>
            </a:fld>
            <a:endParaRPr lang="ru-RU"/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963131" y="437346"/>
            <a:ext cx="6720747" cy="820122"/>
          </a:xfrm>
        </p:spPr>
        <p:txBody>
          <a:bodyPr/>
          <a:lstStyle/>
          <a:p>
            <a:pPr algn="ctr">
              <a:spcBef>
                <a:spcPts val="0"/>
              </a:spcBef>
            </a:pPr>
            <a:r>
              <a:rPr lang="ru-RU" sz="2000" dirty="0">
                <a:solidFill>
                  <a:srgbClr val="002060"/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циональный проект по развитию предпринимательства </a:t>
            </a:r>
            <a:br>
              <a:rPr lang="ru-RU" sz="2000" dirty="0">
                <a:solidFill>
                  <a:srgbClr val="002060"/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dirty="0">
                <a:solidFill>
                  <a:srgbClr val="002060"/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2021-2025 год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7444" y="3804579"/>
            <a:ext cx="4248956" cy="124162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defRPr/>
            </a:pPr>
            <a:endParaRPr lang="ru-RU" sz="1867" b="1" dirty="0">
              <a:solidFill>
                <a:srgbClr val="002060"/>
              </a:solidFill>
              <a:latin typeface="Segoe Condensed" panose="020B0606040200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defRPr/>
            </a:pPr>
            <a:r>
              <a:rPr lang="ru-RU" sz="1867" b="1" dirty="0">
                <a:solidFill>
                  <a:srgbClr val="002060"/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Поддержка микро- и малого предпринимательства»</a:t>
            </a:r>
          </a:p>
          <a:p>
            <a:pPr algn="ctr">
              <a:defRPr/>
            </a:pPr>
            <a:endParaRPr lang="ru-RU" sz="1867" b="1" dirty="0">
              <a:solidFill>
                <a:srgbClr val="002060"/>
              </a:solidFill>
              <a:latin typeface="Segoe Condensed" panose="020B0606040200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426515" y="2967629"/>
            <a:ext cx="4512501" cy="50276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667" b="1" dirty="0">
                <a:solidFill>
                  <a:srgbClr val="002060"/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нансовые меры поддержки</a:t>
            </a:r>
            <a:r>
              <a:rPr lang="ru-RU" sz="2133" b="1" dirty="0">
                <a:solidFill>
                  <a:srgbClr val="002060"/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241523" y="3804579"/>
            <a:ext cx="4248956" cy="124162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defRPr/>
            </a:pPr>
            <a:endParaRPr lang="ru-RU" sz="1867" b="1" dirty="0">
              <a:solidFill>
                <a:srgbClr val="002060"/>
              </a:solidFill>
              <a:latin typeface="Segoe Condensed" panose="020B0606040200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defRPr/>
            </a:pPr>
            <a:r>
              <a:rPr lang="ru-RU" sz="1867" b="1" dirty="0">
                <a:solidFill>
                  <a:srgbClr val="002060"/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Поддержка предпринимателей/субъектов индустриально-инновационной деятельности»</a:t>
            </a:r>
          </a:p>
        </p:txBody>
      </p:sp>
    </p:spTree>
    <p:extLst>
      <p:ext uri="{BB962C8B-B14F-4D97-AF65-F5344CB8AC3E}">
        <p14:creationId xmlns:p14="http://schemas.microsoft.com/office/powerpoint/2010/main" val="3992512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86">
            <a:extLst>
              <a:ext uri="{FF2B5EF4-FFF2-40B4-BE49-F238E27FC236}">
                <a16:creationId xmlns:a16="http://schemas.microsoft.com/office/drawing/2014/main" id="{F858059A-62C7-44A6-95FE-A494532EA9D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53138" y="1458231"/>
            <a:ext cx="5065529" cy="375817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39858" y="606670"/>
            <a:ext cx="79419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I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- Поддержка микро и малого предпринимательств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069135" y="1521595"/>
            <a:ext cx="4496458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сновные условия:</a:t>
            </a:r>
          </a:p>
          <a:p>
            <a:endParaRPr lang="ru-RU" altLang="ru-RU" sz="16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endParaRPr lang="ru-RU" altLang="ru-RU" sz="16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706">
              <a:spcBef>
                <a:spcPts val="600"/>
              </a:spcBef>
              <a:defRPr/>
            </a:pPr>
            <a:r>
              <a:rPr lang="ru-RU" alt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мма кредита: 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на инвестиции до 20 млн </a:t>
            </a:r>
            <a:r>
              <a:rPr lang="ru-RU" altLang="ru-RU" sz="1600" b="1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тг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., на ПОС не более 5 млн </a:t>
            </a:r>
            <a:r>
              <a:rPr lang="ru-RU" altLang="ru-RU" sz="1600" b="1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тг</a:t>
            </a:r>
            <a:endParaRPr lang="ru-RU" altLang="ru-RU" sz="1600" b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706">
              <a:spcBef>
                <a:spcPts val="600"/>
              </a:spcBef>
              <a:defRPr/>
            </a:pPr>
            <a:endParaRPr lang="ru-RU" altLang="ru-RU" sz="10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706">
              <a:spcBef>
                <a:spcPts val="600"/>
              </a:spcBef>
              <a:defRPr/>
            </a:pPr>
            <a:r>
              <a:rPr lang="ru-RU" alt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целевое назначение: 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инвестиции, ПОС</a:t>
            </a:r>
          </a:p>
          <a:p>
            <a:pPr marL="2706">
              <a:spcBef>
                <a:spcPts val="600"/>
              </a:spcBef>
              <a:defRPr/>
            </a:pPr>
            <a:endParaRPr lang="ru-RU" altLang="ru-RU" sz="12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706">
              <a:spcBef>
                <a:spcPts val="600"/>
              </a:spcBef>
              <a:defRPr/>
            </a:pPr>
            <a:r>
              <a:rPr lang="ru-RU" alt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ставка вознаграждения: 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б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азовая ставка НБ РК + 7%</a:t>
            </a:r>
          </a:p>
          <a:p>
            <a:pPr marL="2706">
              <a:spcBef>
                <a:spcPts val="600"/>
              </a:spcBef>
              <a:defRPr/>
            </a:pPr>
            <a:endParaRPr lang="ru-RU" altLang="ru-RU" sz="1500" dirty="0">
              <a:solidFill>
                <a:prstClr val="black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706" algn="just">
              <a:spcBef>
                <a:spcPts val="600"/>
              </a:spcBef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КЭД: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без отраслевых ограничений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381031" y="1471221"/>
            <a:ext cx="5442161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06">
              <a:spcBef>
                <a:spcPts val="600"/>
              </a:spcBef>
              <a:defRPr/>
            </a:pPr>
            <a:r>
              <a:rPr lang="ru-RU" altLang="ru-RU" sz="1600" b="1" i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        по инструменту субсидирования: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endParaRPr lang="ru-RU" altLang="ru-RU" sz="1000" dirty="0">
              <a:solidFill>
                <a:prstClr val="black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азмер субсидирования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: </a:t>
            </a:r>
            <a:r>
              <a:rPr lang="en-US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15,75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% годовых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рок субсидирования: на инвестиции –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о 3-х лет, на ПОС – до 2-х лет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endParaRPr lang="ru-RU" alt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endParaRPr lang="ru-RU" alt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706">
              <a:spcBef>
                <a:spcPts val="600"/>
              </a:spcBef>
              <a:defRPr/>
            </a:pPr>
            <a:r>
              <a:rPr lang="ru-RU" altLang="ru-RU" sz="1600" b="1" i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       по инструменту гарантирования:</a:t>
            </a:r>
          </a:p>
          <a:p>
            <a:pPr marL="2706">
              <a:spcBef>
                <a:spcPts val="600"/>
              </a:spcBef>
              <a:defRPr/>
            </a:pPr>
            <a:endParaRPr lang="ru-RU" altLang="ru-RU" sz="1000" b="1" i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азмер гарантии: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о 85% от суммы кредита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рок гарантии:</a:t>
            </a:r>
            <a:r>
              <a:rPr lang="ru-RU" alt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не более срока кредита</a:t>
            </a:r>
          </a:p>
        </p:txBody>
      </p:sp>
      <p:cxnSp>
        <p:nvCxnSpPr>
          <p:cNvPr id="7" name="Straight Connector 50">
            <a:extLst>
              <a:ext uri="{FF2B5EF4-FFF2-40B4-BE49-F238E27FC236}">
                <a16:creationId xmlns:a16="http://schemas.microsoft.com/office/drawing/2014/main" id="{A4541230-9692-473A-8B41-AE740D1EE977}"/>
              </a:ext>
            </a:extLst>
          </p:cNvPr>
          <p:cNvCxnSpPr>
            <a:cxnSpLocks/>
          </p:cNvCxnSpPr>
          <p:nvPr/>
        </p:nvCxnSpPr>
        <p:spPr>
          <a:xfrm flipH="1">
            <a:off x="6729762" y="3576184"/>
            <a:ext cx="4892262" cy="18319"/>
          </a:xfrm>
          <a:prstGeom prst="line">
            <a:avLst/>
          </a:prstGeom>
          <a:ln w="9525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9">
            <a:extLst>
              <a:ext uri="{FF2B5EF4-FFF2-40B4-BE49-F238E27FC236}">
                <a16:creationId xmlns:a16="http://schemas.microsoft.com/office/drawing/2014/main" id="{21037700-F2C8-406B-9542-01AC025C8035}"/>
              </a:ext>
            </a:extLst>
          </p:cNvPr>
          <p:cNvGrpSpPr/>
          <p:nvPr/>
        </p:nvGrpSpPr>
        <p:grpSpPr>
          <a:xfrm>
            <a:off x="6041411" y="1471221"/>
            <a:ext cx="182985" cy="3384000"/>
            <a:chOff x="7088869" y="980441"/>
            <a:chExt cx="155732" cy="4020530"/>
          </a:xfrm>
        </p:grpSpPr>
        <p:cxnSp>
          <p:nvCxnSpPr>
            <p:cNvPr id="19" name="Google Shape;276;p4">
              <a:extLst>
                <a:ext uri="{FF2B5EF4-FFF2-40B4-BE49-F238E27FC236}">
                  <a16:creationId xmlns:a16="http://schemas.microsoft.com/office/drawing/2014/main" id="{61FBE0A4-F0C2-4233-823A-1814C73A0576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1270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20" name="Google Shape;277;p4">
              <a:extLst>
                <a:ext uri="{FF2B5EF4-FFF2-40B4-BE49-F238E27FC236}">
                  <a16:creationId xmlns:a16="http://schemas.microsoft.com/office/drawing/2014/main" id="{1B65C6E6-DCB4-4A4C-828A-7CA96445799F}"/>
                </a:ext>
              </a:extLst>
            </p:cNvPr>
            <p:cNvGrpSpPr/>
            <p:nvPr/>
          </p:nvGrpSpPr>
          <p:grpSpPr>
            <a:xfrm>
              <a:off x="7088869" y="2595985"/>
              <a:ext cx="155732" cy="789447"/>
              <a:chOff x="6846057" y="1968366"/>
              <a:chExt cx="200919" cy="802802"/>
            </a:xfrm>
          </p:grpSpPr>
          <p:sp>
            <p:nvSpPr>
              <p:cNvPr id="21" name="Google Shape;278;p4">
                <a:extLst>
                  <a:ext uri="{FF2B5EF4-FFF2-40B4-BE49-F238E27FC236}">
                    <a16:creationId xmlns:a16="http://schemas.microsoft.com/office/drawing/2014/main" id="{A1F68B8F-C356-4802-8E9F-5289BBEAC2CD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25" name="Google Shape;281;p4">
                <a:extLst>
                  <a:ext uri="{FF2B5EF4-FFF2-40B4-BE49-F238E27FC236}">
                    <a16:creationId xmlns:a16="http://schemas.microsoft.com/office/drawing/2014/main" id="{3635A287-D84D-4117-BA99-91034DC87787}"/>
                  </a:ext>
                </a:extLst>
              </p:cNvPr>
              <p:cNvSpPr/>
              <p:nvPr/>
            </p:nvSpPr>
            <p:spPr>
              <a:xfrm>
                <a:off x="6889073" y="2095154"/>
                <a:ext cx="157903" cy="549228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</p:grpSp>
      </p:grpSp>
      <p:pic>
        <p:nvPicPr>
          <p:cNvPr id="14" name="Picture 8" descr="Картинки по запросу деньги иконка 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5939" y="1424227"/>
            <a:ext cx="443823" cy="443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65" y="3610272"/>
            <a:ext cx="324037" cy="324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423341" y="6492875"/>
            <a:ext cx="2743200" cy="365125"/>
          </a:xfrm>
        </p:spPr>
        <p:txBody>
          <a:bodyPr/>
          <a:lstStyle/>
          <a:p>
            <a:fld id="{D915E965-280A-43D4-8620-968D601C1B32}" type="slidenum">
              <a:rPr lang="ru-RU" smtClean="0"/>
              <a:t>4</a:t>
            </a:fld>
            <a:endParaRPr lang="ru-RU" dirty="0"/>
          </a:p>
        </p:txBody>
      </p:sp>
      <p:grpSp>
        <p:nvGrpSpPr>
          <p:cNvPr id="17" name="Shape 855"/>
          <p:cNvGrpSpPr/>
          <p:nvPr/>
        </p:nvGrpSpPr>
        <p:grpSpPr>
          <a:xfrm>
            <a:off x="570912" y="3104240"/>
            <a:ext cx="354271" cy="337500"/>
            <a:chOff x="5970800" y="1619250"/>
            <a:chExt cx="428650" cy="456725"/>
          </a:xfrm>
          <a:solidFill>
            <a:schemeClr val="accent1">
              <a:lumMod val="75000"/>
            </a:schemeClr>
          </a:solidFill>
        </p:grpSpPr>
        <p:sp>
          <p:nvSpPr>
            <p:cNvPr id="22" name="Shape 856"/>
            <p:cNvSpPr/>
            <p:nvPr/>
          </p:nvSpPr>
          <p:spPr>
            <a:xfrm>
              <a:off x="5970800" y="1674200"/>
              <a:ext cx="377975" cy="377950"/>
            </a:xfrm>
            <a:custGeom>
              <a:avLst/>
              <a:gdLst/>
              <a:ahLst/>
              <a:cxnLst/>
              <a:rect l="0" t="0" r="0" b="0"/>
              <a:pathLst>
                <a:path w="15119" h="15118" extrusionOk="0">
                  <a:moveTo>
                    <a:pt x="7181" y="0"/>
                  </a:moveTo>
                  <a:lnTo>
                    <a:pt x="6790" y="49"/>
                  </a:lnTo>
                  <a:lnTo>
                    <a:pt x="6424" y="98"/>
                  </a:lnTo>
                  <a:lnTo>
                    <a:pt x="6058" y="147"/>
                  </a:lnTo>
                  <a:lnTo>
                    <a:pt x="5691" y="244"/>
                  </a:lnTo>
                  <a:lnTo>
                    <a:pt x="5325" y="342"/>
                  </a:lnTo>
                  <a:lnTo>
                    <a:pt x="4983" y="464"/>
                  </a:lnTo>
                  <a:lnTo>
                    <a:pt x="4641" y="586"/>
                  </a:lnTo>
                  <a:lnTo>
                    <a:pt x="4299" y="733"/>
                  </a:lnTo>
                  <a:lnTo>
                    <a:pt x="3982" y="904"/>
                  </a:lnTo>
                  <a:lnTo>
                    <a:pt x="3664" y="1099"/>
                  </a:lnTo>
                  <a:lnTo>
                    <a:pt x="3347" y="1295"/>
                  </a:lnTo>
                  <a:lnTo>
                    <a:pt x="3053" y="1490"/>
                  </a:lnTo>
                  <a:lnTo>
                    <a:pt x="2760" y="1734"/>
                  </a:lnTo>
                  <a:lnTo>
                    <a:pt x="2492" y="1954"/>
                  </a:lnTo>
                  <a:lnTo>
                    <a:pt x="2223" y="2223"/>
                  </a:lnTo>
                  <a:lnTo>
                    <a:pt x="1979" y="2467"/>
                  </a:lnTo>
                  <a:lnTo>
                    <a:pt x="1735" y="2760"/>
                  </a:lnTo>
                  <a:lnTo>
                    <a:pt x="1515" y="3029"/>
                  </a:lnTo>
                  <a:lnTo>
                    <a:pt x="1295" y="3322"/>
                  </a:lnTo>
                  <a:lnTo>
                    <a:pt x="1100" y="3639"/>
                  </a:lnTo>
                  <a:lnTo>
                    <a:pt x="929" y="3957"/>
                  </a:lnTo>
                  <a:lnTo>
                    <a:pt x="758" y="4274"/>
                  </a:lnTo>
                  <a:lnTo>
                    <a:pt x="611" y="4616"/>
                  </a:lnTo>
                  <a:lnTo>
                    <a:pt x="465" y="4958"/>
                  </a:lnTo>
                  <a:lnTo>
                    <a:pt x="343" y="5300"/>
                  </a:lnTo>
                  <a:lnTo>
                    <a:pt x="245" y="5666"/>
                  </a:lnTo>
                  <a:lnTo>
                    <a:pt x="172" y="6033"/>
                  </a:lnTo>
                  <a:lnTo>
                    <a:pt x="98" y="6399"/>
                  </a:lnTo>
                  <a:lnTo>
                    <a:pt x="49" y="6790"/>
                  </a:lnTo>
                  <a:lnTo>
                    <a:pt x="25" y="7156"/>
                  </a:lnTo>
                  <a:lnTo>
                    <a:pt x="1" y="7547"/>
                  </a:lnTo>
                  <a:lnTo>
                    <a:pt x="25" y="7938"/>
                  </a:lnTo>
                  <a:lnTo>
                    <a:pt x="49" y="8328"/>
                  </a:lnTo>
                  <a:lnTo>
                    <a:pt x="98" y="8695"/>
                  </a:lnTo>
                  <a:lnTo>
                    <a:pt x="172" y="9085"/>
                  </a:lnTo>
                  <a:lnTo>
                    <a:pt x="245" y="9452"/>
                  </a:lnTo>
                  <a:lnTo>
                    <a:pt x="343" y="9794"/>
                  </a:lnTo>
                  <a:lnTo>
                    <a:pt x="465" y="10160"/>
                  </a:lnTo>
                  <a:lnTo>
                    <a:pt x="611" y="10502"/>
                  </a:lnTo>
                  <a:lnTo>
                    <a:pt x="758" y="10820"/>
                  </a:lnTo>
                  <a:lnTo>
                    <a:pt x="929" y="11161"/>
                  </a:lnTo>
                  <a:lnTo>
                    <a:pt x="1100" y="11479"/>
                  </a:lnTo>
                  <a:lnTo>
                    <a:pt x="1295" y="11772"/>
                  </a:lnTo>
                  <a:lnTo>
                    <a:pt x="1515" y="12065"/>
                  </a:lnTo>
                  <a:lnTo>
                    <a:pt x="1735" y="12358"/>
                  </a:lnTo>
                  <a:lnTo>
                    <a:pt x="1979" y="12627"/>
                  </a:lnTo>
                  <a:lnTo>
                    <a:pt x="2223" y="12895"/>
                  </a:lnTo>
                  <a:lnTo>
                    <a:pt x="2492" y="13140"/>
                  </a:lnTo>
                  <a:lnTo>
                    <a:pt x="2760" y="13384"/>
                  </a:lnTo>
                  <a:lnTo>
                    <a:pt x="3053" y="13604"/>
                  </a:lnTo>
                  <a:lnTo>
                    <a:pt x="3347" y="13824"/>
                  </a:lnTo>
                  <a:lnTo>
                    <a:pt x="3664" y="14019"/>
                  </a:lnTo>
                  <a:lnTo>
                    <a:pt x="3982" y="14190"/>
                  </a:lnTo>
                  <a:lnTo>
                    <a:pt x="4299" y="14361"/>
                  </a:lnTo>
                  <a:lnTo>
                    <a:pt x="4641" y="14507"/>
                  </a:lnTo>
                  <a:lnTo>
                    <a:pt x="4983" y="14654"/>
                  </a:lnTo>
                  <a:lnTo>
                    <a:pt x="5325" y="14776"/>
                  </a:lnTo>
                  <a:lnTo>
                    <a:pt x="5691" y="14874"/>
                  </a:lnTo>
                  <a:lnTo>
                    <a:pt x="6058" y="14947"/>
                  </a:lnTo>
                  <a:lnTo>
                    <a:pt x="6424" y="15020"/>
                  </a:lnTo>
                  <a:lnTo>
                    <a:pt x="6790" y="15069"/>
                  </a:lnTo>
                  <a:lnTo>
                    <a:pt x="7181" y="15094"/>
                  </a:lnTo>
                  <a:lnTo>
                    <a:pt x="7572" y="15118"/>
                  </a:lnTo>
                  <a:lnTo>
                    <a:pt x="7963" y="15094"/>
                  </a:lnTo>
                  <a:lnTo>
                    <a:pt x="8329" y="15069"/>
                  </a:lnTo>
                  <a:lnTo>
                    <a:pt x="8720" y="15020"/>
                  </a:lnTo>
                  <a:lnTo>
                    <a:pt x="9086" y="14947"/>
                  </a:lnTo>
                  <a:lnTo>
                    <a:pt x="9452" y="14874"/>
                  </a:lnTo>
                  <a:lnTo>
                    <a:pt x="9819" y="14776"/>
                  </a:lnTo>
                  <a:lnTo>
                    <a:pt x="10161" y="14654"/>
                  </a:lnTo>
                  <a:lnTo>
                    <a:pt x="10503" y="14507"/>
                  </a:lnTo>
                  <a:lnTo>
                    <a:pt x="10844" y="14361"/>
                  </a:lnTo>
                  <a:lnTo>
                    <a:pt x="11162" y="14190"/>
                  </a:lnTo>
                  <a:lnTo>
                    <a:pt x="11479" y="14019"/>
                  </a:lnTo>
                  <a:lnTo>
                    <a:pt x="11797" y="13824"/>
                  </a:lnTo>
                  <a:lnTo>
                    <a:pt x="12090" y="13604"/>
                  </a:lnTo>
                  <a:lnTo>
                    <a:pt x="12383" y="13384"/>
                  </a:lnTo>
                  <a:lnTo>
                    <a:pt x="12652" y="13140"/>
                  </a:lnTo>
                  <a:lnTo>
                    <a:pt x="12920" y="12895"/>
                  </a:lnTo>
                  <a:lnTo>
                    <a:pt x="13165" y="12627"/>
                  </a:lnTo>
                  <a:lnTo>
                    <a:pt x="13409" y="12358"/>
                  </a:lnTo>
                  <a:lnTo>
                    <a:pt x="13629" y="12065"/>
                  </a:lnTo>
                  <a:lnTo>
                    <a:pt x="13824" y="11772"/>
                  </a:lnTo>
                  <a:lnTo>
                    <a:pt x="14019" y="11479"/>
                  </a:lnTo>
                  <a:lnTo>
                    <a:pt x="14215" y="11161"/>
                  </a:lnTo>
                  <a:lnTo>
                    <a:pt x="14386" y="10820"/>
                  </a:lnTo>
                  <a:lnTo>
                    <a:pt x="14532" y="10502"/>
                  </a:lnTo>
                  <a:lnTo>
                    <a:pt x="14654" y="10160"/>
                  </a:lnTo>
                  <a:lnTo>
                    <a:pt x="14777" y="9794"/>
                  </a:lnTo>
                  <a:lnTo>
                    <a:pt x="14899" y="9452"/>
                  </a:lnTo>
                  <a:lnTo>
                    <a:pt x="14972" y="9085"/>
                  </a:lnTo>
                  <a:lnTo>
                    <a:pt x="15045" y="8695"/>
                  </a:lnTo>
                  <a:lnTo>
                    <a:pt x="15094" y="8328"/>
                  </a:lnTo>
                  <a:lnTo>
                    <a:pt x="15118" y="7938"/>
                  </a:lnTo>
                  <a:lnTo>
                    <a:pt x="15118" y="7547"/>
                  </a:lnTo>
                  <a:lnTo>
                    <a:pt x="15094" y="6936"/>
                  </a:lnTo>
                  <a:lnTo>
                    <a:pt x="15021" y="6326"/>
                  </a:lnTo>
                  <a:lnTo>
                    <a:pt x="14899" y="5740"/>
                  </a:lnTo>
                  <a:lnTo>
                    <a:pt x="14728" y="5178"/>
                  </a:lnTo>
                  <a:lnTo>
                    <a:pt x="14532" y="4616"/>
                  </a:lnTo>
                  <a:lnTo>
                    <a:pt x="14288" y="4079"/>
                  </a:lnTo>
                  <a:lnTo>
                    <a:pt x="13995" y="3590"/>
                  </a:lnTo>
                  <a:lnTo>
                    <a:pt x="13653" y="3102"/>
                  </a:lnTo>
                  <a:lnTo>
                    <a:pt x="13458" y="3053"/>
                  </a:lnTo>
                  <a:lnTo>
                    <a:pt x="12163" y="4347"/>
                  </a:lnTo>
                  <a:lnTo>
                    <a:pt x="12383" y="4689"/>
                  </a:lnTo>
                  <a:lnTo>
                    <a:pt x="12578" y="5056"/>
                  </a:lnTo>
                  <a:lnTo>
                    <a:pt x="12749" y="5446"/>
                  </a:lnTo>
                  <a:lnTo>
                    <a:pt x="12896" y="5837"/>
                  </a:lnTo>
                  <a:lnTo>
                    <a:pt x="13018" y="6252"/>
                  </a:lnTo>
                  <a:lnTo>
                    <a:pt x="13091" y="6668"/>
                  </a:lnTo>
                  <a:lnTo>
                    <a:pt x="13165" y="7107"/>
                  </a:lnTo>
                  <a:lnTo>
                    <a:pt x="13165" y="7547"/>
                  </a:lnTo>
                  <a:lnTo>
                    <a:pt x="13140" y="8133"/>
                  </a:lnTo>
                  <a:lnTo>
                    <a:pt x="13067" y="8695"/>
                  </a:lnTo>
                  <a:lnTo>
                    <a:pt x="12920" y="9208"/>
                  </a:lnTo>
                  <a:lnTo>
                    <a:pt x="12725" y="9745"/>
                  </a:lnTo>
                  <a:lnTo>
                    <a:pt x="12505" y="10233"/>
                  </a:lnTo>
                  <a:lnTo>
                    <a:pt x="12212" y="10673"/>
                  </a:lnTo>
                  <a:lnTo>
                    <a:pt x="11895" y="11113"/>
                  </a:lnTo>
                  <a:lnTo>
                    <a:pt x="11528" y="11503"/>
                  </a:lnTo>
                  <a:lnTo>
                    <a:pt x="11138" y="11870"/>
                  </a:lnTo>
                  <a:lnTo>
                    <a:pt x="10698" y="12187"/>
                  </a:lnTo>
                  <a:lnTo>
                    <a:pt x="10234" y="12480"/>
                  </a:lnTo>
                  <a:lnTo>
                    <a:pt x="9745" y="12725"/>
                  </a:lnTo>
                  <a:lnTo>
                    <a:pt x="9233" y="12895"/>
                  </a:lnTo>
                  <a:lnTo>
                    <a:pt x="8695" y="13042"/>
                  </a:lnTo>
                  <a:lnTo>
                    <a:pt x="8133" y="13140"/>
                  </a:lnTo>
                  <a:lnTo>
                    <a:pt x="7572" y="13164"/>
                  </a:lnTo>
                  <a:lnTo>
                    <a:pt x="6986" y="13140"/>
                  </a:lnTo>
                  <a:lnTo>
                    <a:pt x="6448" y="13042"/>
                  </a:lnTo>
                  <a:lnTo>
                    <a:pt x="5911" y="12895"/>
                  </a:lnTo>
                  <a:lnTo>
                    <a:pt x="5398" y="12725"/>
                  </a:lnTo>
                  <a:lnTo>
                    <a:pt x="4910" y="12480"/>
                  </a:lnTo>
                  <a:lnTo>
                    <a:pt x="4446" y="12187"/>
                  </a:lnTo>
                  <a:lnTo>
                    <a:pt x="4006" y="11870"/>
                  </a:lnTo>
                  <a:lnTo>
                    <a:pt x="3615" y="11503"/>
                  </a:lnTo>
                  <a:lnTo>
                    <a:pt x="3249" y="11113"/>
                  </a:lnTo>
                  <a:lnTo>
                    <a:pt x="2931" y="10673"/>
                  </a:lnTo>
                  <a:lnTo>
                    <a:pt x="2638" y="10233"/>
                  </a:lnTo>
                  <a:lnTo>
                    <a:pt x="2418" y="9745"/>
                  </a:lnTo>
                  <a:lnTo>
                    <a:pt x="2223" y="9208"/>
                  </a:lnTo>
                  <a:lnTo>
                    <a:pt x="2077" y="8695"/>
                  </a:lnTo>
                  <a:lnTo>
                    <a:pt x="2003" y="8133"/>
                  </a:lnTo>
                  <a:lnTo>
                    <a:pt x="1954" y="7547"/>
                  </a:lnTo>
                  <a:lnTo>
                    <a:pt x="2003" y="6985"/>
                  </a:lnTo>
                  <a:lnTo>
                    <a:pt x="2077" y="6423"/>
                  </a:lnTo>
                  <a:lnTo>
                    <a:pt x="2223" y="5886"/>
                  </a:lnTo>
                  <a:lnTo>
                    <a:pt x="2418" y="5373"/>
                  </a:lnTo>
                  <a:lnTo>
                    <a:pt x="2638" y="4885"/>
                  </a:lnTo>
                  <a:lnTo>
                    <a:pt x="2931" y="4421"/>
                  </a:lnTo>
                  <a:lnTo>
                    <a:pt x="3249" y="4005"/>
                  </a:lnTo>
                  <a:lnTo>
                    <a:pt x="3615" y="3590"/>
                  </a:lnTo>
                  <a:lnTo>
                    <a:pt x="4006" y="3224"/>
                  </a:lnTo>
                  <a:lnTo>
                    <a:pt x="4446" y="2906"/>
                  </a:lnTo>
                  <a:lnTo>
                    <a:pt x="4910" y="2638"/>
                  </a:lnTo>
                  <a:lnTo>
                    <a:pt x="5398" y="2394"/>
                  </a:lnTo>
                  <a:lnTo>
                    <a:pt x="5911" y="2198"/>
                  </a:lnTo>
                  <a:lnTo>
                    <a:pt x="6448" y="2076"/>
                  </a:lnTo>
                  <a:lnTo>
                    <a:pt x="6986" y="1978"/>
                  </a:lnTo>
                  <a:lnTo>
                    <a:pt x="7572" y="1954"/>
                  </a:lnTo>
                  <a:lnTo>
                    <a:pt x="8011" y="1978"/>
                  </a:lnTo>
                  <a:lnTo>
                    <a:pt x="8451" y="2027"/>
                  </a:lnTo>
                  <a:lnTo>
                    <a:pt x="8866" y="2100"/>
                  </a:lnTo>
                  <a:lnTo>
                    <a:pt x="9281" y="2223"/>
                  </a:lnTo>
                  <a:lnTo>
                    <a:pt x="9672" y="2369"/>
                  </a:lnTo>
                  <a:lnTo>
                    <a:pt x="10063" y="2540"/>
                  </a:lnTo>
                  <a:lnTo>
                    <a:pt x="10429" y="2735"/>
                  </a:lnTo>
                  <a:lnTo>
                    <a:pt x="10771" y="2955"/>
                  </a:lnTo>
                  <a:lnTo>
                    <a:pt x="11943" y="1807"/>
                  </a:lnTo>
                  <a:lnTo>
                    <a:pt x="11846" y="1343"/>
                  </a:lnTo>
                  <a:lnTo>
                    <a:pt x="11382" y="1026"/>
                  </a:lnTo>
                  <a:lnTo>
                    <a:pt x="10893" y="782"/>
                  </a:lnTo>
                  <a:lnTo>
                    <a:pt x="10380" y="537"/>
                  </a:lnTo>
                  <a:lnTo>
                    <a:pt x="9843" y="342"/>
                  </a:lnTo>
                  <a:lnTo>
                    <a:pt x="9306" y="195"/>
                  </a:lnTo>
                  <a:lnTo>
                    <a:pt x="8744" y="98"/>
                  </a:lnTo>
                  <a:lnTo>
                    <a:pt x="8158" y="25"/>
                  </a:lnTo>
                  <a:lnTo>
                    <a:pt x="75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24" name="Shape 857"/>
            <p:cNvSpPr/>
            <p:nvPr/>
          </p:nvSpPr>
          <p:spPr>
            <a:xfrm>
              <a:off x="6068500" y="1771875"/>
              <a:ext cx="182575" cy="182600"/>
            </a:xfrm>
            <a:custGeom>
              <a:avLst/>
              <a:gdLst/>
              <a:ahLst/>
              <a:cxnLst/>
              <a:rect l="0" t="0" r="0" b="0"/>
              <a:pathLst>
                <a:path w="7303" h="7304" extrusionOk="0">
                  <a:moveTo>
                    <a:pt x="3664" y="1"/>
                  </a:moveTo>
                  <a:lnTo>
                    <a:pt x="3297" y="25"/>
                  </a:lnTo>
                  <a:lnTo>
                    <a:pt x="2931" y="74"/>
                  </a:lnTo>
                  <a:lnTo>
                    <a:pt x="2565" y="147"/>
                  </a:lnTo>
                  <a:lnTo>
                    <a:pt x="2247" y="294"/>
                  </a:lnTo>
                  <a:lnTo>
                    <a:pt x="1930" y="440"/>
                  </a:lnTo>
                  <a:lnTo>
                    <a:pt x="1612" y="611"/>
                  </a:lnTo>
                  <a:lnTo>
                    <a:pt x="1344" y="831"/>
                  </a:lnTo>
                  <a:lnTo>
                    <a:pt x="1075" y="1075"/>
                  </a:lnTo>
                  <a:lnTo>
                    <a:pt x="831" y="1320"/>
                  </a:lnTo>
                  <a:lnTo>
                    <a:pt x="635" y="1613"/>
                  </a:lnTo>
                  <a:lnTo>
                    <a:pt x="440" y="1906"/>
                  </a:lnTo>
                  <a:lnTo>
                    <a:pt x="293" y="2223"/>
                  </a:lnTo>
                  <a:lnTo>
                    <a:pt x="171" y="2565"/>
                  </a:lnTo>
                  <a:lnTo>
                    <a:pt x="74" y="2907"/>
                  </a:lnTo>
                  <a:lnTo>
                    <a:pt x="25" y="3273"/>
                  </a:lnTo>
                  <a:lnTo>
                    <a:pt x="0" y="3640"/>
                  </a:lnTo>
                  <a:lnTo>
                    <a:pt x="25" y="4031"/>
                  </a:lnTo>
                  <a:lnTo>
                    <a:pt x="74" y="4373"/>
                  </a:lnTo>
                  <a:lnTo>
                    <a:pt x="171" y="4739"/>
                  </a:lnTo>
                  <a:lnTo>
                    <a:pt x="293" y="5081"/>
                  </a:lnTo>
                  <a:lnTo>
                    <a:pt x="440" y="5398"/>
                  </a:lnTo>
                  <a:lnTo>
                    <a:pt x="635" y="5691"/>
                  </a:lnTo>
                  <a:lnTo>
                    <a:pt x="831" y="5960"/>
                  </a:lnTo>
                  <a:lnTo>
                    <a:pt x="1075" y="6229"/>
                  </a:lnTo>
                  <a:lnTo>
                    <a:pt x="1344" y="6473"/>
                  </a:lnTo>
                  <a:lnTo>
                    <a:pt x="1612" y="6668"/>
                  </a:lnTo>
                  <a:lnTo>
                    <a:pt x="1930" y="6864"/>
                  </a:lnTo>
                  <a:lnTo>
                    <a:pt x="2247" y="7010"/>
                  </a:lnTo>
                  <a:lnTo>
                    <a:pt x="2565" y="7132"/>
                  </a:lnTo>
                  <a:lnTo>
                    <a:pt x="2931" y="7230"/>
                  </a:lnTo>
                  <a:lnTo>
                    <a:pt x="3297" y="7279"/>
                  </a:lnTo>
                  <a:lnTo>
                    <a:pt x="3664" y="7303"/>
                  </a:lnTo>
                  <a:lnTo>
                    <a:pt x="4030" y="7279"/>
                  </a:lnTo>
                  <a:lnTo>
                    <a:pt x="4396" y="7230"/>
                  </a:lnTo>
                  <a:lnTo>
                    <a:pt x="4738" y="7132"/>
                  </a:lnTo>
                  <a:lnTo>
                    <a:pt x="5080" y="7010"/>
                  </a:lnTo>
                  <a:lnTo>
                    <a:pt x="5398" y="6864"/>
                  </a:lnTo>
                  <a:lnTo>
                    <a:pt x="5691" y="6668"/>
                  </a:lnTo>
                  <a:lnTo>
                    <a:pt x="5984" y="6473"/>
                  </a:lnTo>
                  <a:lnTo>
                    <a:pt x="6253" y="6229"/>
                  </a:lnTo>
                  <a:lnTo>
                    <a:pt x="6472" y="5960"/>
                  </a:lnTo>
                  <a:lnTo>
                    <a:pt x="6692" y="5691"/>
                  </a:lnTo>
                  <a:lnTo>
                    <a:pt x="6863" y="5398"/>
                  </a:lnTo>
                  <a:lnTo>
                    <a:pt x="7034" y="5081"/>
                  </a:lnTo>
                  <a:lnTo>
                    <a:pt x="7156" y="4739"/>
                  </a:lnTo>
                  <a:lnTo>
                    <a:pt x="7230" y="4373"/>
                  </a:lnTo>
                  <a:lnTo>
                    <a:pt x="7303" y="4031"/>
                  </a:lnTo>
                  <a:lnTo>
                    <a:pt x="7303" y="3640"/>
                  </a:lnTo>
                  <a:lnTo>
                    <a:pt x="7303" y="3396"/>
                  </a:lnTo>
                  <a:lnTo>
                    <a:pt x="7278" y="3176"/>
                  </a:lnTo>
                  <a:lnTo>
                    <a:pt x="7254" y="2932"/>
                  </a:lnTo>
                  <a:lnTo>
                    <a:pt x="7181" y="2712"/>
                  </a:lnTo>
                  <a:lnTo>
                    <a:pt x="7132" y="2492"/>
                  </a:lnTo>
                  <a:lnTo>
                    <a:pt x="7034" y="2272"/>
                  </a:lnTo>
                  <a:lnTo>
                    <a:pt x="6839" y="1857"/>
                  </a:lnTo>
                  <a:lnTo>
                    <a:pt x="5325" y="3347"/>
                  </a:lnTo>
                  <a:lnTo>
                    <a:pt x="5349" y="3640"/>
                  </a:lnTo>
                  <a:lnTo>
                    <a:pt x="5349" y="3811"/>
                  </a:lnTo>
                  <a:lnTo>
                    <a:pt x="5325" y="3982"/>
                  </a:lnTo>
                  <a:lnTo>
                    <a:pt x="5276" y="4153"/>
                  </a:lnTo>
                  <a:lnTo>
                    <a:pt x="5227" y="4299"/>
                  </a:lnTo>
                  <a:lnTo>
                    <a:pt x="5154" y="4446"/>
                  </a:lnTo>
                  <a:lnTo>
                    <a:pt x="5080" y="4592"/>
                  </a:lnTo>
                  <a:lnTo>
                    <a:pt x="4983" y="4739"/>
                  </a:lnTo>
                  <a:lnTo>
                    <a:pt x="4860" y="4861"/>
                  </a:lnTo>
                  <a:lnTo>
                    <a:pt x="4738" y="4959"/>
                  </a:lnTo>
                  <a:lnTo>
                    <a:pt x="4616" y="5056"/>
                  </a:lnTo>
                  <a:lnTo>
                    <a:pt x="4470" y="5154"/>
                  </a:lnTo>
                  <a:lnTo>
                    <a:pt x="4323" y="5203"/>
                  </a:lnTo>
                  <a:lnTo>
                    <a:pt x="4177" y="5276"/>
                  </a:lnTo>
                  <a:lnTo>
                    <a:pt x="4006" y="5301"/>
                  </a:lnTo>
                  <a:lnTo>
                    <a:pt x="3835" y="5349"/>
                  </a:lnTo>
                  <a:lnTo>
                    <a:pt x="3493" y="5349"/>
                  </a:lnTo>
                  <a:lnTo>
                    <a:pt x="3322" y="5301"/>
                  </a:lnTo>
                  <a:lnTo>
                    <a:pt x="3151" y="5276"/>
                  </a:lnTo>
                  <a:lnTo>
                    <a:pt x="3004" y="5203"/>
                  </a:lnTo>
                  <a:lnTo>
                    <a:pt x="2858" y="5154"/>
                  </a:lnTo>
                  <a:lnTo>
                    <a:pt x="2711" y="5056"/>
                  </a:lnTo>
                  <a:lnTo>
                    <a:pt x="2589" y="4959"/>
                  </a:lnTo>
                  <a:lnTo>
                    <a:pt x="2467" y="4861"/>
                  </a:lnTo>
                  <a:lnTo>
                    <a:pt x="2345" y="4739"/>
                  </a:lnTo>
                  <a:lnTo>
                    <a:pt x="2247" y="4592"/>
                  </a:lnTo>
                  <a:lnTo>
                    <a:pt x="2174" y="4446"/>
                  </a:lnTo>
                  <a:lnTo>
                    <a:pt x="2101" y="4299"/>
                  </a:lnTo>
                  <a:lnTo>
                    <a:pt x="2027" y="4153"/>
                  </a:lnTo>
                  <a:lnTo>
                    <a:pt x="2003" y="3982"/>
                  </a:lnTo>
                  <a:lnTo>
                    <a:pt x="1979" y="3811"/>
                  </a:lnTo>
                  <a:lnTo>
                    <a:pt x="1954" y="3640"/>
                  </a:lnTo>
                  <a:lnTo>
                    <a:pt x="1979" y="3469"/>
                  </a:lnTo>
                  <a:lnTo>
                    <a:pt x="2003" y="3298"/>
                  </a:lnTo>
                  <a:lnTo>
                    <a:pt x="2027" y="3151"/>
                  </a:lnTo>
                  <a:lnTo>
                    <a:pt x="2101" y="2980"/>
                  </a:lnTo>
                  <a:lnTo>
                    <a:pt x="2174" y="2834"/>
                  </a:lnTo>
                  <a:lnTo>
                    <a:pt x="2247" y="2687"/>
                  </a:lnTo>
                  <a:lnTo>
                    <a:pt x="2345" y="2565"/>
                  </a:lnTo>
                  <a:lnTo>
                    <a:pt x="2467" y="2443"/>
                  </a:lnTo>
                  <a:lnTo>
                    <a:pt x="2589" y="2345"/>
                  </a:lnTo>
                  <a:lnTo>
                    <a:pt x="2711" y="2248"/>
                  </a:lnTo>
                  <a:lnTo>
                    <a:pt x="2858" y="2150"/>
                  </a:lnTo>
                  <a:lnTo>
                    <a:pt x="3004" y="2077"/>
                  </a:lnTo>
                  <a:lnTo>
                    <a:pt x="3151" y="2028"/>
                  </a:lnTo>
                  <a:lnTo>
                    <a:pt x="3322" y="1979"/>
                  </a:lnTo>
                  <a:lnTo>
                    <a:pt x="3493" y="1955"/>
                  </a:lnTo>
                  <a:lnTo>
                    <a:pt x="3664" y="1955"/>
                  </a:lnTo>
                  <a:lnTo>
                    <a:pt x="3957" y="1979"/>
                  </a:lnTo>
                  <a:lnTo>
                    <a:pt x="5447" y="465"/>
                  </a:lnTo>
                  <a:lnTo>
                    <a:pt x="5056" y="269"/>
                  </a:lnTo>
                  <a:lnTo>
                    <a:pt x="4836" y="196"/>
                  </a:lnTo>
                  <a:lnTo>
                    <a:pt x="4616" y="123"/>
                  </a:lnTo>
                  <a:lnTo>
                    <a:pt x="4372" y="74"/>
                  </a:lnTo>
                  <a:lnTo>
                    <a:pt x="4152" y="25"/>
                  </a:lnTo>
                  <a:lnTo>
                    <a:pt x="390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26" name="Shape 858"/>
            <p:cNvSpPr/>
            <p:nvPr/>
          </p:nvSpPr>
          <p:spPr>
            <a:xfrm>
              <a:off x="5981175" y="2005125"/>
              <a:ext cx="75125" cy="70850"/>
            </a:xfrm>
            <a:custGeom>
              <a:avLst/>
              <a:gdLst/>
              <a:ahLst/>
              <a:cxnLst/>
              <a:rect l="0" t="0" r="0" b="0"/>
              <a:pathLst>
                <a:path w="3005" h="2834" extrusionOk="0">
                  <a:moveTo>
                    <a:pt x="1466" y="0"/>
                  </a:moveTo>
                  <a:lnTo>
                    <a:pt x="294" y="1173"/>
                  </a:lnTo>
                  <a:lnTo>
                    <a:pt x="172" y="1319"/>
                  </a:lnTo>
                  <a:lnTo>
                    <a:pt x="74" y="1490"/>
                  </a:lnTo>
                  <a:lnTo>
                    <a:pt x="25" y="1661"/>
                  </a:lnTo>
                  <a:lnTo>
                    <a:pt x="1" y="1857"/>
                  </a:lnTo>
                  <a:lnTo>
                    <a:pt x="25" y="2052"/>
                  </a:lnTo>
                  <a:lnTo>
                    <a:pt x="74" y="2223"/>
                  </a:lnTo>
                  <a:lnTo>
                    <a:pt x="172" y="2394"/>
                  </a:lnTo>
                  <a:lnTo>
                    <a:pt x="294" y="2540"/>
                  </a:lnTo>
                  <a:lnTo>
                    <a:pt x="440" y="2663"/>
                  </a:lnTo>
                  <a:lnTo>
                    <a:pt x="611" y="2760"/>
                  </a:lnTo>
                  <a:lnTo>
                    <a:pt x="807" y="2809"/>
                  </a:lnTo>
                  <a:lnTo>
                    <a:pt x="978" y="2833"/>
                  </a:lnTo>
                  <a:lnTo>
                    <a:pt x="1173" y="2809"/>
                  </a:lnTo>
                  <a:lnTo>
                    <a:pt x="1344" y="2760"/>
                  </a:lnTo>
                  <a:lnTo>
                    <a:pt x="1515" y="2663"/>
                  </a:lnTo>
                  <a:lnTo>
                    <a:pt x="1686" y="2540"/>
                  </a:lnTo>
                  <a:lnTo>
                    <a:pt x="2858" y="1368"/>
                  </a:lnTo>
                  <a:lnTo>
                    <a:pt x="3005" y="1197"/>
                  </a:lnTo>
                  <a:lnTo>
                    <a:pt x="2590" y="928"/>
                  </a:lnTo>
                  <a:lnTo>
                    <a:pt x="2199" y="635"/>
                  </a:lnTo>
                  <a:lnTo>
                    <a:pt x="1808" y="342"/>
                  </a:lnTo>
                  <a:lnTo>
                    <a:pt x="146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27" name="Shape 859"/>
            <p:cNvSpPr/>
            <p:nvPr/>
          </p:nvSpPr>
          <p:spPr>
            <a:xfrm>
              <a:off x="6263875" y="2005125"/>
              <a:ext cx="74525" cy="70850"/>
            </a:xfrm>
            <a:custGeom>
              <a:avLst/>
              <a:gdLst/>
              <a:ahLst/>
              <a:cxnLst/>
              <a:rect l="0" t="0" r="0" b="0"/>
              <a:pathLst>
                <a:path w="2981" h="2834" extrusionOk="0">
                  <a:moveTo>
                    <a:pt x="1539" y="0"/>
                  </a:moveTo>
                  <a:lnTo>
                    <a:pt x="1173" y="342"/>
                  </a:lnTo>
                  <a:lnTo>
                    <a:pt x="807" y="635"/>
                  </a:lnTo>
                  <a:lnTo>
                    <a:pt x="416" y="928"/>
                  </a:lnTo>
                  <a:lnTo>
                    <a:pt x="1" y="1197"/>
                  </a:lnTo>
                  <a:lnTo>
                    <a:pt x="123" y="1368"/>
                  </a:lnTo>
                  <a:lnTo>
                    <a:pt x="1319" y="2540"/>
                  </a:lnTo>
                  <a:lnTo>
                    <a:pt x="1466" y="2663"/>
                  </a:lnTo>
                  <a:lnTo>
                    <a:pt x="1637" y="2760"/>
                  </a:lnTo>
                  <a:lnTo>
                    <a:pt x="1832" y="2809"/>
                  </a:lnTo>
                  <a:lnTo>
                    <a:pt x="2003" y="2833"/>
                  </a:lnTo>
                  <a:lnTo>
                    <a:pt x="2199" y="2809"/>
                  </a:lnTo>
                  <a:lnTo>
                    <a:pt x="2370" y="2760"/>
                  </a:lnTo>
                  <a:lnTo>
                    <a:pt x="2541" y="2663"/>
                  </a:lnTo>
                  <a:lnTo>
                    <a:pt x="2712" y="2540"/>
                  </a:lnTo>
                  <a:lnTo>
                    <a:pt x="2834" y="2394"/>
                  </a:lnTo>
                  <a:lnTo>
                    <a:pt x="2931" y="2223"/>
                  </a:lnTo>
                  <a:lnTo>
                    <a:pt x="2980" y="2052"/>
                  </a:lnTo>
                  <a:lnTo>
                    <a:pt x="2980" y="1857"/>
                  </a:lnTo>
                  <a:lnTo>
                    <a:pt x="2980" y="1661"/>
                  </a:lnTo>
                  <a:lnTo>
                    <a:pt x="2931" y="1490"/>
                  </a:lnTo>
                  <a:lnTo>
                    <a:pt x="2834" y="1319"/>
                  </a:lnTo>
                  <a:lnTo>
                    <a:pt x="2712" y="1173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28" name="Shape 860"/>
            <p:cNvSpPr/>
            <p:nvPr/>
          </p:nvSpPr>
          <p:spPr>
            <a:xfrm>
              <a:off x="6147875" y="1619250"/>
              <a:ext cx="251575" cy="255850"/>
            </a:xfrm>
            <a:custGeom>
              <a:avLst/>
              <a:gdLst/>
              <a:ahLst/>
              <a:cxnLst/>
              <a:rect l="0" t="0" r="0" b="0"/>
              <a:pathLst>
                <a:path w="10063" h="10234" extrusionOk="0">
                  <a:moveTo>
                    <a:pt x="7352" y="0"/>
                  </a:moveTo>
                  <a:lnTo>
                    <a:pt x="7254" y="24"/>
                  </a:lnTo>
                  <a:lnTo>
                    <a:pt x="7181" y="73"/>
                  </a:lnTo>
                  <a:lnTo>
                    <a:pt x="7083" y="147"/>
                  </a:lnTo>
                  <a:lnTo>
                    <a:pt x="5447" y="1758"/>
                  </a:lnTo>
                  <a:lnTo>
                    <a:pt x="5373" y="1856"/>
                  </a:lnTo>
                  <a:lnTo>
                    <a:pt x="5300" y="1978"/>
                  </a:lnTo>
                  <a:lnTo>
                    <a:pt x="5227" y="2125"/>
                  </a:lnTo>
                  <a:lnTo>
                    <a:pt x="5178" y="2247"/>
                  </a:lnTo>
                  <a:lnTo>
                    <a:pt x="5154" y="2393"/>
                  </a:lnTo>
                  <a:lnTo>
                    <a:pt x="5129" y="2540"/>
                  </a:lnTo>
                  <a:lnTo>
                    <a:pt x="5129" y="2687"/>
                  </a:lnTo>
                  <a:lnTo>
                    <a:pt x="5129" y="2809"/>
                  </a:lnTo>
                  <a:lnTo>
                    <a:pt x="5349" y="3981"/>
                  </a:lnTo>
                  <a:lnTo>
                    <a:pt x="5398" y="4152"/>
                  </a:lnTo>
                  <a:lnTo>
                    <a:pt x="147" y="9403"/>
                  </a:lnTo>
                  <a:lnTo>
                    <a:pt x="74" y="9476"/>
                  </a:lnTo>
                  <a:lnTo>
                    <a:pt x="25" y="9574"/>
                  </a:lnTo>
                  <a:lnTo>
                    <a:pt x="0" y="9672"/>
                  </a:lnTo>
                  <a:lnTo>
                    <a:pt x="0" y="9745"/>
                  </a:lnTo>
                  <a:lnTo>
                    <a:pt x="0" y="9843"/>
                  </a:lnTo>
                  <a:lnTo>
                    <a:pt x="25" y="9940"/>
                  </a:lnTo>
                  <a:lnTo>
                    <a:pt x="74" y="10013"/>
                  </a:lnTo>
                  <a:lnTo>
                    <a:pt x="147" y="10087"/>
                  </a:lnTo>
                  <a:lnTo>
                    <a:pt x="220" y="10160"/>
                  </a:lnTo>
                  <a:lnTo>
                    <a:pt x="293" y="10209"/>
                  </a:lnTo>
                  <a:lnTo>
                    <a:pt x="391" y="10233"/>
                  </a:lnTo>
                  <a:lnTo>
                    <a:pt x="586" y="10233"/>
                  </a:lnTo>
                  <a:lnTo>
                    <a:pt x="660" y="10209"/>
                  </a:lnTo>
                  <a:lnTo>
                    <a:pt x="757" y="10160"/>
                  </a:lnTo>
                  <a:lnTo>
                    <a:pt x="831" y="10087"/>
                  </a:lnTo>
                  <a:lnTo>
                    <a:pt x="6204" y="4738"/>
                  </a:lnTo>
                  <a:lnTo>
                    <a:pt x="7254" y="4909"/>
                  </a:lnTo>
                  <a:lnTo>
                    <a:pt x="7376" y="4933"/>
                  </a:lnTo>
                  <a:lnTo>
                    <a:pt x="7523" y="4933"/>
                  </a:lnTo>
                  <a:lnTo>
                    <a:pt x="7645" y="4909"/>
                  </a:lnTo>
                  <a:lnTo>
                    <a:pt x="7791" y="4860"/>
                  </a:lnTo>
                  <a:lnTo>
                    <a:pt x="7938" y="4811"/>
                  </a:lnTo>
                  <a:lnTo>
                    <a:pt x="8060" y="4763"/>
                  </a:lnTo>
                  <a:lnTo>
                    <a:pt x="8182" y="4689"/>
                  </a:lnTo>
                  <a:lnTo>
                    <a:pt x="8280" y="4592"/>
                  </a:lnTo>
                  <a:lnTo>
                    <a:pt x="9916" y="2955"/>
                  </a:lnTo>
                  <a:lnTo>
                    <a:pt x="9989" y="2882"/>
                  </a:lnTo>
                  <a:lnTo>
                    <a:pt x="10038" y="2784"/>
                  </a:lnTo>
                  <a:lnTo>
                    <a:pt x="10063" y="2711"/>
                  </a:lnTo>
                  <a:lnTo>
                    <a:pt x="10038" y="2613"/>
                  </a:lnTo>
                  <a:lnTo>
                    <a:pt x="10014" y="2564"/>
                  </a:lnTo>
                  <a:lnTo>
                    <a:pt x="9940" y="2491"/>
                  </a:lnTo>
                  <a:lnTo>
                    <a:pt x="9843" y="2442"/>
                  </a:lnTo>
                  <a:lnTo>
                    <a:pt x="9745" y="2418"/>
                  </a:lnTo>
                  <a:lnTo>
                    <a:pt x="8695" y="2223"/>
                  </a:lnTo>
                  <a:lnTo>
                    <a:pt x="9721" y="1197"/>
                  </a:lnTo>
                  <a:lnTo>
                    <a:pt x="9794" y="1123"/>
                  </a:lnTo>
                  <a:lnTo>
                    <a:pt x="9843" y="1026"/>
                  </a:lnTo>
                  <a:lnTo>
                    <a:pt x="9867" y="953"/>
                  </a:lnTo>
                  <a:lnTo>
                    <a:pt x="9867" y="855"/>
                  </a:lnTo>
                  <a:lnTo>
                    <a:pt x="9867" y="757"/>
                  </a:lnTo>
                  <a:lnTo>
                    <a:pt x="9843" y="659"/>
                  </a:lnTo>
                  <a:lnTo>
                    <a:pt x="9794" y="586"/>
                  </a:lnTo>
                  <a:lnTo>
                    <a:pt x="9721" y="513"/>
                  </a:lnTo>
                  <a:lnTo>
                    <a:pt x="9647" y="440"/>
                  </a:lnTo>
                  <a:lnTo>
                    <a:pt x="9574" y="391"/>
                  </a:lnTo>
                  <a:lnTo>
                    <a:pt x="9476" y="366"/>
                  </a:lnTo>
                  <a:lnTo>
                    <a:pt x="9281" y="366"/>
                  </a:lnTo>
                  <a:lnTo>
                    <a:pt x="9208" y="391"/>
                  </a:lnTo>
                  <a:lnTo>
                    <a:pt x="9110" y="440"/>
                  </a:lnTo>
                  <a:lnTo>
                    <a:pt x="9037" y="513"/>
                  </a:lnTo>
                  <a:lnTo>
                    <a:pt x="7889" y="1661"/>
                  </a:lnTo>
                  <a:lnTo>
                    <a:pt x="7840" y="1490"/>
                  </a:lnTo>
                  <a:lnTo>
                    <a:pt x="7620" y="318"/>
                  </a:lnTo>
                  <a:lnTo>
                    <a:pt x="7596" y="195"/>
                  </a:lnTo>
                  <a:lnTo>
                    <a:pt x="7547" y="98"/>
                  </a:lnTo>
                  <a:lnTo>
                    <a:pt x="7498" y="49"/>
                  </a:lnTo>
                  <a:lnTo>
                    <a:pt x="74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pic>
        <p:nvPicPr>
          <p:cNvPr id="29" name="Picture 6" descr="Картинки по запросу деньги иконка 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312" y="2447749"/>
            <a:ext cx="329474" cy="329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Овал 29"/>
          <p:cNvSpPr/>
          <p:nvPr/>
        </p:nvSpPr>
        <p:spPr>
          <a:xfrm>
            <a:off x="570533" y="3730550"/>
            <a:ext cx="294719" cy="304326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220236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Номер слайда 9"/>
          <p:cNvSpPr txBox="1">
            <a:spLocks/>
          </p:cNvSpPr>
          <p:nvPr/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CA762F-A9F5-4407-AFC4-11D3F21C1EC6}" type="slidenum">
              <a:rPr lang="ru-RU" sz="1600"/>
              <a:pPr/>
              <a:t>5</a:t>
            </a:fld>
            <a:endParaRPr lang="ru-RU" sz="1600"/>
          </a:p>
        </p:txBody>
      </p:sp>
      <p:sp>
        <p:nvSpPr>
          <p:cNvPr id="29" name="Прямоугольник 28"/>
          <p:cNvSpPr/>
          <p:nvPr/>
        </p:nvSpPr>
        <p:spPr>
          <a:xfrm>
            <a:off x="1353653" y="1002764"/>
            <a:ext cx="7067333" cy="653899"/>
          </a:xfrm>
          <a:prstGeom prst="rect">
            <a:avLst/>
          </a:prstGeom>
          <a:solidFill>
            <a:srgbClr val="00B050"/>
          </a:solidFill>
          <a:ln w="12700">
            <a:noFill/>
            <a:round/>
            <a:headEnd/>
            <a:tailEnd/>
          </a:ln>
        </p:spPr>
        <p:txBody>
          <a:bodyPr lIns="118497" tIns="59249" rIns="118497" bIns="59249" anchor="ctr" anchorCtr="0"/>
          <a:lstStyle/>
          <a:p>
            <a:pPr algn="ctr"/>
            <a:r>
              <a:rPr lang="ru-RU" sz="1867" b="1" dirty="0">
                <a:solidFill>
                  <a:schemeClr val="bg1"/>
                </a:solidFill>
                <a:latin typeface="Arial Narrow" panose="020B0606020202030204" pitchFamily="34" charset="0"/>
              </a:rPr>
              <a:t>Процесс прохождения заявок по субсидированию и гарантированию </a:t>
            </a:r>
          </a:p>
        </p:txBody>
      </p:sp>
      <p:sp>
        <p:nvSpPr>
          <p:cNvPr id="49" name="Прямоугольник 56"/>
          <p:cNvSpPr>
            <a:spLocks noChangeArrowheads="1"/>
          </p:cNvSpPr>
          <p:nvPr/>
        </p:nvSpPr>
        <p:spPr bwMode="auto">
          <a:xfrm>
            <a:off x="6397152" y="3894574"/>
            <a:ext cx="167924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300" dirty="0">
                <a:latin typeface="Arial Narrow" panose="020B0606020202030204" pitchFamily="34" charset="0"/>
              </a:rPr>
              <a:t>БВУ/МФО заключает Договор с СММП</a:t>
            </a:r>
          </a:p>
        </p:txBody>
      </p:sp>
      <p:sp>
        <p:nvSpPr>
          <p:cNvPr id="51" name="Прямоугольник 56"/>
          <p:cNvSpPr>
            <a:spLocks noChangeArrowheads="1"/>
          </p:cNvSpPr>
          <p:nvPr/>
        </p:nvSpPr>
        <p:spPr bwMode="auto">
          <a:xfrm>
            <a:off x="3602158" y="5217065"/>
            <a:ext cx="3867693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300" dirty="0">
                <a:latin typeface="Arial Narrow" panose="020B0606020202030204" pitchFamily="34" charset="0"/>
              </a:rPr>
              <a:t>После выдачи кредита/</a:t>
            </a:r>
            <a:r>
              <a:rPr lang="ru-RU" altLang="ru-RU" sz="1300" dirty="0" err="1">
                <a:latin typeface="Arial Narrow" panose="020B0606020202030204" pitchFamily="34" charset="0"/>
              </a:rPr>
              <a:t>микрокредита</a:t>
            </a:r>
            <a:r>
              <a:rPr lang="ru-RU" altLang="ru-RU" sz="1300" dirty="0">
                <a:latin typeface="Arial Narrow" panose="020B0606020202030204" pitchFamily="34" charset="0"/>
              </a:rPr>
              <a:t> БВУ/МФО направляет в Фонд копию Договора, график погашения и письмо-уведомление </a:t>
            </a:r>
            <a:r>
              <a:rPr lang="ru-RU" altLang="ru-RU" sz="1300" b="1" dirty="0">
                <a:latin typeface="Arial Narrow" panose="020B0606020202030204" pitchFamily="34" charset="0"/>
              </a:rPr>
              <a:t>для получения субсидирования</a:t>
            </a:r>
          </a:p>
        </p:txBody>
      </p:sp>
      <p:cxnSp>
        <p:nvCxnSpPr>
          <p:cNvPr id="52" name="Прямая со стрелкой 51"/>
          <p:cNvCxnSpPr/>
          <p:nvPr/>
        </p:nvCxnSpPr>
        <p:spPr>
          <a:xfrm flipV="1">
            <a:off x="2319286" y="4431071"/>
            <a:ext cx="2263340" cy="459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4"/>
          <p:cNvSpPr>
            <a:spLocks noChangeArrowheads="1"/>
          </p:cNvSpPr>
          <p:nvPr/>
        </p:nvSpPr>
        <p:spPr bwMode="auto">
          <a:xfrm>
            <a:off x="2068288" y="3733590"/>
            <a:ext cx="2941241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300" dirty="0">
                <a:latin typeface="Arial Narrow" panose="020B0606020202030204" pitchFamily="34" charset="0"/>
              </a:rPr>
              <a:t>БВУ</a:t>
            </a:r>
            <a:r>
              <a:rPr lang="en-US" altLang="ru-RU" sz="1300" dirty="0">
                <a:latin typeface="Arial Narrow" panose="020B0606020202030204" pitchFamily="34" charset="0"/>
              </a:rPr>
              <a:t>/</a:t>
            </a:r>
            <a:r>
              <a:rPr lang="ru-RU" altLang="ru-RU" sz="1300" dirty="0">
                <a:latin typeface="Arial Narrow" panose="020B0606020202030204" pitchFamily="34" charset="0"/>
              </a:rPr>
              <a:t>МФО принимает положительное решение о возможности предоставления кредита/</a:t>
            </a:r>
            <a:r>
              <a:rPr lang="ru-RU" altLang="ru-RU" sz="1300" dirty="0" err="1">
                <a:latin typeface="Arial Narrow" panose="020B0606020202030204" pitchFamily="34" charset="0"/>
              </a:rPr>
              <a:t>микрокредита</a:t>
            </a:r>
            <a:r>
              <a:rPr lang="ru-RU" altLang="ru-RU" sz="1300" dirty="0">
                <a:latin typeface="Arial Narrow" panose="020B0606020202030204" pitchFamily="34" charset="0"/>
              </a:rPr>
              <a:t> СММП </a:t>
            </a:r>
          </a:p>
        </p:txBody>
      </p:sp>
      <p:sp>
        <p:nvSpPr>
          <p:cNvPr id="58" name="Овал 57"/>
          <p:cNvSpPr/>
          <p:nvPr/>
        </p:nvSpPr>
        <p:spPr>
          <a:xfrm>
            <a:off x="3147443" y="3186745"/>
            <a:ext cx="553112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667" b="1" dirty="0"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60" name="Овал 59"/>
          <p:cNvSpPr/>
          <p:nvPr/>
        </p:nvSpPr>
        <p:spPr>
          <a:xfrm>
            <a:off x="6885250" y="3235431"/>
            <a:ext cx="554907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667" b="1" dirty="0">
                <a:latin typeface="Arial Narrow" panose="020B0606020202030204" pitchFamily="34" charset="0"/>
              </a:rPr>
              <a:t>2</a:t>
            </a:r>
            <a:endParaRPr lang="ru-RU" sz="2667" b="1" dirty="0">
              <a:latin typeface="Arial Narrow" panose="020B0606020202030204" pitchFamily="34" charset="0"/>
            </a:endParaRPr>
          </a:p>
        </p:txBody>
      </p:sp>
      <p:pic>
        <p:nvPicPr>
          <p:cNvPr id="61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7377" y="3687737"/>
            <a:ext cx="654480" cy="65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Рисунок 7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4797" y="5093942"/>
            <a:ext cx="727361" cy="727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3" name="Прямая со стрелкой 62"/>
          <p:cNvCxnSpPr/>
          <p:nvPr/>
        </p:nvCxnSpPr>
        <p:spPr>
          <a:xfrm>
            <a:off x="6211126" y="4464854"/>
            <a:ext cx="1920213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/>
          <p:cNvCxnSpPr/>
          <p:nvPr/>
        </p:nvCxnSpPr>
        <p:spPr>
          <a:xfrm flipV="1">
            <a:off x="3891522" y="5914415"/>
            <a:ext cx="2677836" cy="7923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Овал 65"/>
          <p:cNvSpPr/>
          <p:nvPr/>
        </p:nvSpPr>
        <p:spPr>
          <a:xfrm>
            <a:off x="4936063" y="4712408"/>
            <a:ext cx="553112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667" b="1" dirty="0">
                <a:latin typeface="Arial Narrow" panose="020B0606020202030204" pitchFamily="34" charset="0"/>
              </a:rPr>
              <a:t>3</a:t>
            </a:r>
            <a:endParaRPr lang="ru-RU" sz="2667" b="1" dirty="0">
              <a:latin typeface="Arial Narrow" panose="020B0606020202030204" pitchFamily="34" charset="0"/>
            </a:endParaRPr>
          </a:p>
        </p:txBody>
      </p:sp>
      <p:sp>
        <p:nvSpPr>
          <p:cNvPr id="70" name="Прямоугольник 56"/>
          <p:cNvSpPr>
            <a:spLocks noChangeArrowheads="1"/>
          </p:cNvSpPr>
          <p:nvPr/>
        </p:nvSpPr>
        <p:spPr bwMode="auto">
          <a:xfrm>
            <a:off x="1083479" y="6356351"/>
            <a:ext cx="5702003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933" i="1" dirty="0">
                <a:latin typeface="+mj-lt"/>
              </a:rPr>
              <a:t>*</a:t>
            </a:r>
            <a:r>
              <a:rPr lang="en-US" altLang="ru-RU" sz="933" i="1" dirty="0">
                <a:latin typeface="+mj-lt"/>
              </a:rPr>
              <a:t> </a:t>
            </a:r>
            <a:r>
              <a:rPr lang="ru-RU" altLang="ru-RU" sz="933" i="1" dirty="0">
                <a:latin typeface="+mj-lt"/>
              </a:rPr>
              <a:t>весь процесс передачи данных автоматизирован </a:t>
            </a:r>
          </a:p>
        </p:txBody>
      </p:sp>
      <p:pic>
        <p:nvPicPr>
          <p:cNvPr id="78" name="Рисунок 6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7059" y="3850330"/>
            <a:ext cx="579436" cy="580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Рисунок 58">
            <a:extLst>
              <a:ext uri="{FF2B5EF4-FFF2-40B4-BE49-F238E27FC236}">
                <a16:creationId xmlns:a16="http://schemas.microsoft.com/office/drawing/2014/main" id="{81DA641B-25DB-4573-84EF-E77D651CA5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8781" y="1963484"/>
            <a:ext cx="654480" cy="65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Прямоугольник 54">
            <a:extLst>
              <a:ext uri="{FF2B5EF4-FFF2-40B4-BE49-F238E27FC236}">
                <a16:creationId xmlns:a16="http://schemas.microsoft.com/office/drawing/2014/main" id="{E4153E48-407B-4616-AB06-64F24E28BE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95239" y="2006523"/>
            <a:ext cx="291890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300" dirty="0">
                <a:latin typeface="Arial Narrow" panose="020B0606020202030204" pitchFamily="34" charset="0"/>
              </a:rPr>
              <a:t>Заключается </a:t>
            </a:r>
            <a:r>
              <a:rPr lang="ru-RU" altLang="ru-RU" sz="1300" b="1" dirty="0">
                <a:solidFill>
                  <a:srgbClr val="00B050"/>
                </a:solidFill>
                <a:latin typeface="Arial Narrow" panose="020B0606020202030204" pitchFamily="34" charset="0"/>
              </a:rPr>
              <a:t>Портфельное соглашение </a:t>
            </a:r>
            <a:r>
              <a:rPr lang="ru-RU" altLang="ru-RU" sz="1300" dirty="0">
                <a:latin typeface="Arial Narrow" panose="020B0606020202030204" pitchFamily="34" charset="0"/>
              </a:rPr>
              <a:t>между БВУ и Фондом </a:t>
            </a:r>
          </a:p>
        </p:txBody>
      </p:sp>
      <p:cxnSp>
        <p:nvCxnSpPr>
          <p:cNvPr id="45" name="Прямая со стрелкой 44">
            <a:extLst>
              <a:ext uri="{FF2B5EF4-FFF2-40B4-BE49-F238E27FC236}">
                <a16:creationId xmlns:a16="http://schemas.microsoft.com/office/drawing/2014/main" id="{264A9A9E-301E-45B0-BC7A-CE57F68C7CC6}"/>
              </a:ext>
            </a:extLst>
          </p:cNvPr>
          <p:cNvCxnSpPr>
            <a:cxnSpLocks/>
          </p:cNvCxnSpPr>
          <p:nvPr/>
        </p:nvCxnSpPr>
        <p:spPr>
          <a:xfrm>
            <a:off x="3538366" y="2463664"/>
            <a:ext cx="2858787" cy="1098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Рисунок 3">
            <a:extLst>
              <a:ext uri="{FF2B5EF4-FFF2-40B4-BE49-F238E27FC236}">
                <a16:creationId xmlns:a16="http://schemas.microsoft.com/office/drawing/2014/main" id="{33A0255D-B51F-4978-B27C-50ED3028284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1129" y="1858265"/>
            <a:ext cx="972665" cy="921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Прямоугольник 38"/>
          <p:cNvSpPr/>
          <p:nvPr/>
        </p:nvSpPr>
        <p:spPr>
          <a:xfrm>
            <a:off x="639858" y="335069"/>
            <a:ext cx="79419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I</a:t>
            </a:r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- Поддержка микро и малого предпринимательства</a:t>
            </a:r>
          </a:p>
        </p:txBody>
      </p:sp>
    </p:spTree>
    <p:extLst>
      <p:ext uri="{BB962C8B-B14F-4D97-AF65-F5344CB8AC3E}">
        <p14:creationId xmlns:p14="http://schemas.microsoft.com/office/powerpoint/2010/main" val="4619845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86">
            <a:extLst>
              <a:ext uri="{FF2B5EF4-FFF2-40B4-BE49-F238E27FC236}">
                <a16:creationId xmlns:a16="http://schemas.microsoft.com/office/drawing/2014/main" id="{F858059A-62C7-44A6-95FE-A494532EA9D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53138" y="1458231"/>
            <a:ext cx="5065529" cy="375817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189" lvl="1" indent="0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70912" y="512218"/>
            <a:ext cx="79419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II - Поддержка предпринимателей/субъектов индустриально-инновационной деятельност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069135" y="1521595"/>
            <a:ext cx="4496458" cy="2754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Основные условия:</a:t>
            </a:r>
          </a:p>
          <a:p>
            <a:endParaRPr lang="ru-RU" altLang="ru-RU" sz="16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706">
              <a:spcBef>
                <a:spcPts val="600"/>
              </a:spcBef>
              <a:defRPr/>
            </a:pPr>
            <a:endParaRPr lang="ru-RU" alt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706">
              <a:spcBef>
                <a:spcPts val="600"/>
              </a:spcBef>
              <a:defRPr/>
            </a:pPr>
            <a:r>
              <a:rPr lang="ru-RU" alt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целевое назначение: 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инвестиции, ПОС, рефинансирование</a:t>
            </a:r>
          </a:p>
          <a:p>
            <a:pPr marL="2706">
              <a:spcBef>
                <a:spcPts val="600"/>
              </a:spcBef>
              <a:defRPr/>
            </a:pPr>
            <a:endParaRPr lang="ru-RU" altLang="ru-RU" sz="8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706">
              <a:spcBef>
                <a:spcPts val="600"/>
              </a:spcBef>
              <a:defRPr/>
            </a:pPr>
            <a:r>
              <a:rPr lang="ru-RU" alt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ставка вознаграждения: 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б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азовая ставка НБ РК + 5%</a:t>
            </a:r>
          </a:p>
          <a:p>
            <a:pPr marL="2706">
              <a:spcBef>
                <a:spcPts val="600"/>
              </a:spcBef>
              <a:defRPr/>
            </a:pPr>
            <a:endParaRPr lang="ru-RU" altLang="ru-RU" sz="800" dirty="0">
              <a:solidFill>
                <a:prstClr val="black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706" algn="just">
              <a:spcBef>
                <a:spcPts val="600"/>
              </a:spcBef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КЭД: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без отраслевых ограничений и учета места регистрации и реализации проект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381031" y="1471221"/>
            <a:ext cx="5442161" cy="4201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06">
              <a:spcBef>
                <a:spcPts val="600"/>
              </a:spcBef>
              <a:defRPr/>
            </a:pPr>
            <a:r>
              <a:rPr lang="ru-RU" altLang="ru-RU" sz="1600" b="1" i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        по инструменту субсидирования: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endParaRPr lang="ru-RU" altLang="ru-RU" sz="10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мма кредита: 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на инвестиции до 1,5 млрд </a:t>
            </a:r>
            <a:r>
              <a:rPr lang="ru-RU" altLang="ru-RU" sz="1600" b="1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тг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., на ПОС не более 500 млн </a:t>
            </a:r>
            <a:r>
              <a:rPr lang="ru-RU" altLang="ru-RU" sz="1600" b="1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тг</a:t>
            </a:r>
            <a:endParaRPr lang="ru-RU" altLang="ru-RU" sz="1600" b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азмер субсидирования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: </a:t>
            </a:r>
            <a:r>
              <a:rPr lang="en-US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13,75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% годовых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рок субсидирования: на инвестиции –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о 5-х лет, на ПОС – до 3-х лет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endParaRPr lang="ru-RU" alt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endParaRPr lang="ru-RU" altLang="ru-RU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706">
              <a:spcBef>
                <a:spcPts val="600"/>
              </a:spcBef>
              <a:defRPr/>
            </a:pPr>
            <a:r>
              <a:rPr lang="ru-RU" altLang="ru-RU" sz="1600" b="1" i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      по инструменту гарантирования:</a:t>
            </a:r>
          </a:p>
          <a:p>
            <a:pPr marL="2706">
              <a:spcBef>
                <a:spcPts val="600"/>
              </a:spcBef>
              <a:defRPr/>
            </a:pPr>
            <a:endParaRPr lang="ru-RU" altLang="ru-RU" sz="1000" b="1" i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мма кредита: 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до 360 млн </a:t>
            </a:r>
            <a:r>
              <a:rPr lang="ru-RU" altLang="ru-RU" sz="1600" b="1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тг</a:t>
            </a:r>
            <a:endParaRPr lang="ru-RU" altLang="ru-RU" sz="1600" b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азмер гарантии: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о 85% от суммы кредита</a:t>
            </a:r>
          </a:p>
          <a:p>
            <a:pPr marL="288456" indent="-285750">
              <a:spcBef>
                <a:spcPts val="600"/>
              </a:spcBef>
              <a:buFontTx/>
              <a:buChar char="-"/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рок гарантии:</a:t>
            </a:r>
            <a:r>
              <a:rPr lang="ru-RU" alt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alt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не более срока кредита</a:t>
            </a:r>
          </a:p>
        </p:txBody>
      </p:sp>
      <p:cxnSp>
        <p:nvCxnSpPr>
          <p:cNvPr id="7" name="Straight Connector 50">
            <a:extLst>
              <a:ext uri="{FF2B5EF4-FFF2-40B4-BE49-F238E27FC236}">
                <a16:creationId xmlns:a16="http://schemas.microsoft.com/office/drawing/2014/main" id="{A4541230-9692-473A-8B41-AE740D1EE977}"/>
              </a:ext>
            </a:extLst>
          </p:cNvPr>
          <p:cNvCxnSpPr>
            <a:cxnSpLocks/>
          </p:cNvCxnSpPr>
          <p:nvPr/>
        </p:nvCxnSpPr>
        <p:spPr>
          <a:xfrm flipH="1">
            <a:off x="6729762" y="4022760"/>
            <a:ext cx="4892262" cy="18319"/>
          </a:xfrm>
          <a:prstGeom prst="line">
            <a:avLst/>
          </a:prstGeom>
          <a:ln w="9525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9">
            <a:extLst>
              <a:ext uri="{FF2B5EF4-FFF2-40B4-BE49-F238E27FC236}">
                <a16:creationId xmlns:a16="http://schemas.microsoft.com/office/drawing/2014/main" id="{21037700-F2C8-406B-9542-01AC025C8035}"/>
              </a:ext>
            </a:extLst>
          </p:cNvPr>
          <p:cNvGrpSpPr/>
          <p:nvPr/>
        </p:nvGrpSpPr>
        <p:grpSpPr>
          <a:xfrm>
            <a:off x="6041411" y="1471221"/>
            <a:ext cx="182985" cy="3384000"/>
            <a:chOff x="7088869" y="980441"/>
            <a:chExt cx="155732" cy="4020530"/>
          </a:xfrm>
        </p:grpSpPr>
        <p:cxnSp>
          <p:nvCxnSpPr>
            <p:cNvPr id="19" name="Google Shape;276;p4">
              <a:extLst>
                <a:ext uri="{FF2B5EF4-FFF2-40B4-BE49-F238E27FC236}">
                  <a16:creationId xmlns:a16="http://schemas.microsoft.com/office/drawing/2014/main" id="{61FBE0A4-F0C2-4233-823A-1814C73A0576}"/>
                </a:ext>
              </a:extLst>
            </p:cNvPr>
            <p:cNvCxnSpPr>
              <a:cxnSpLocks/>
            </p:cNvCxnSpPr>
            <p:nvPr/>
          </p:nvCxnSpPr>
          <p:spPr>
            <a:xfrm>
              <a:off x="7133240" y="980441"/>
              <a:ext cx="0" cy="4020530"/>
            </a:xfrm>
            <a:prstGeom prst="straightConnector1">
              <a:avLst/>
            </a:prstGeom>
            <a:noFill/>
            <a:ln w="1270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grpSp>
          <p:nvGrpSpPr>
            <p:cNvPr id="20" name="Google Shape;277;p4">
              <a:extLst>
                <a:ext uri="{FF2B5EF4-FFF2-40B4-BE49-F238E27FC236}">
                  <a16:creationId xmlns:a16="http://schemas.microsoft.com/office/drawing/2014/main" id="{1B65C6E6-DCB4-4A4C-828A-7CA96445799F}"/>
                </a:ext>
              </a:extLst>
            </p:cNvPr>
            <p:cNvGrpSpPr/>
            <p:nvPr/>
          </p:nvGrpSpPr>
          <p:grpSpPr>
            <a:xfrm>
              <a:off x="7088869" y="2595985"/>
              <a:ext cx="155732" cy="789447"/>
              <a:chOff x="6846057" y="1968366"/>
              <a:chExt cx="200919" cy="802802"/>
            </a:xfrm>
          </p:grpSpPr>
          <p:sp>
            <p:nvSpPr>
              <p:cNvPr id="21" name="Google Shape;278;p4">
                <a:extLst>
                  <a:ext uri="{FF2B5EF4-FFF2-40B4-BE49-F238E27FC236}">
                    <a16:creationId xmlns:a16="http://schemas.microsoft.com/office/drawing/2014/main" id="{A1F68B8F-C356-4802-8E9F-5289BBEAC2CD}"/>
                  </a:ext>
                </a:extLst>
              </p:cNvPr>
              <p:cNvSpPr/>
              <p:nvPr/>
            </p:nvSpPr>
            <p:spPr>
              <a:xfrm>
                <a:off x="6846057" y="1968366"/>
                <a:ext cx="156341" cy="802802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25" name="Google Shape;281;p4">
                <a:extLst>
                  <a:ext uri="{FF2B5EF4-FFF2-40B4-BE49-F238E27FC236}">
                    <a16:creationId xmlns:a16="http://schemas.microsoft.com/office/drawing/2014/main" id="{3635A287-D84D-4117-BA99-91034DC87787}"/>
                  </a:ext>
                </a:extLst>
              </p:cNvPr>
              <p:cNvSpPr/>
              <p:nvPr/>
            </p:nvSpPr>
            <p:spPr>
              <a:xfrm>
                <a:off x="6889073" y="2095154"/>
                <a:ext cx="157903" cy="549228"/>
              </a:xfrm>
              <a:custGeom>
                <a:avLst/>
                <a:gdLst/>
                <a:ahLst/>
                <a:cxnLst/>
                <a:rect l="l" t="t" r="r" b="b"/>
                <a:pathLst>
                  <a:path w="1460501" h="5080001" extrusionOk="0">
                    <a:moveTo>
                      <a:pt x="0" y="0"/>
                    </a:moveTo>
                    <a:lnTo>
                      <a:pt x="1460500" y="2540000"/>
                    </a:lnTo>
                    <a:lnTo>
                      <a:pt x="0" y="5080000"/>
                    </a:lnTo>
                  </a:path>
                </a:pathLst>
              </a:custGeom>
              <a:noFill/>
              <a:ln w="9525" cap="rnd" cmpd="sng">
                <a:solidFill>
                  <a:srgbClr val="0070CE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937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"/>
                  <a:cs typeface="Arial" pitchFamily="34" charset="0"/>
                  <a:sym typeface="Arial"/>
                </a:endParaRPr>
              </a:p>
            </p:txBody>
          </p:sp>
        </p:grpSp>
      </p:grpSp>
      <p:pic>
        <p:nvPicPr>
          <p:cNvPr id="14" name="Picture 8" descr="Картинки по запросу деньги иконка 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5939" y="1424227"/>
            <a:ext cx="443823" cy="443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65" y="4114176"/>
            <a:ext cx="324037" cy="324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423341" y="6492875"/>
            <a:ext cx="2743200" cy="365125"/>
          </a:xfrm>
        </p:spPr>
        <p:txBody>
          <a:bodyPr/>
          <a:lstStyle/>
          <a:p>
            <a:fld id="{D915E965-280A-43D4-8620-968D601C1B32}" type="slidenum">
              <a:rPr lang="ru-RU" smtClean="0"/>
              <a:t>6</a:t>
            </a:fld>
            <a:endParaRPr lang="ru-RU" dirty="0"/>
          </a:p>
        </p:txBody>
      </p:sp>
      <p:grpSp>
        <p:nvGrpSpPr>
          <p:cNvPr id="17" name="Shape 855"/>
          <p:cNvGrpSpPr/>
          <p:nvPr/>
        </p:nvGrpSpPr>
        <p:grpSpPr>
          <a:xfrm>
            <a:off x="570912" y="2413122"/>
            <a:ext cx="354271" cy="337500"/>
            <a:chOff x="5970800" y="1619250"/>
            <a:chExt cx="428650" cy="456725"/>
          </a:xfrm>
          <a:solidFill>
            <a:schemeClr val="accent1">
              <a:lumMod val="75000"/>
            </a:schemeClr>
          </a:solidFill>
        </p:grpSpPr>
        <p:sp>
          <p:nvSpPr>
            <p:cNvPr id="22" name="Shape 856"/>
            <p:cNvSpPr/>
            <p:nvPr/>
          </p:nvSpPr>
          <p:spPr>
            <a:xfrm>
              <a:off x="5970800" y="1674200"/>
              <a:ext cx="377975" cy="377950"/>
            </a:xfrm>
            <a:custGeom>
              <a:avLst/>
              <a:gdLst/>
              <a:ahLst/>
              <a:cxnLst/>
              <a:rect l="0" t="0" r="0" b="0"/>
              <a:pathLst>
                <a:path w="15119" h="15118" extrusionOk="0">
                  <a:moveTo>
                    <a:pt x="7181" y="0"/>
                  </a:moveTo>
                  <a:lnTo>
                    <a:pt x="6790" y="49"/>
                  </a:lnTo>
                  <a:lnTo>
                    <a:pt x="6424" y="98"/>
                  </a:lnTo>
                  <a:lnTo>
                    <a:pt x="6058" y="147"/>
                  </a:lnTo>
                  <a:lnTo>
                    <a:pt x="5691" y="244"/>
                  </a:lnTo>
                  <a:lnTo>
                    <a:pt x="5325" y="342"/>
                  </a:lnTo>
                  <a:lnTo>
                    <a:pt x="4983" y="464"/>
                  </a:lnTo>
                  <a:lnTo>
                    <a:pt x="4641" y="586"/>
                  </a:lnTo>
                  <a:lnTo>
                    <a:pt x="4299" y="733"/>
                  </a:lnTo>
                  <a:lnTo>
                    <a:pt x="3982" y="904"/>
                  </a:lnTo>
                  <a:lnTo>
                    <a:pt x="3664" y="1099"/>
                  </a:lnTo>
                  <a:lnTo>
                    <a:pt x="3347" y="1295"/>
                  </a:lnTo>
                  <a:lnTo>
                    <a:pt x="3053" y="1490"/>
                  </a:lnTo>
                  <a:lnTo>
                    <a:pt x="2760" y="1734"/>
                  </a:lnTo>
                  <a:lnTo>
                    <a:pt x="2492" y="1954"/>
                  </a:lnTo>
                  <a:lnTo>
                    <a:pt x="2223" y="2223"/>
                  </a:lnTo>
                  <a:lnTo>
                    <a:pt x="1979" y="2467"/>
                  </a:lnTo>
                  <a:lnTo>
                    <a:pt x="1735" y="2760"/>
                  </a:lnTo>
                  <a:lnTo>
                    <a:pt x="1515" y="3029"/>
                  </a:lnTo>
                  <a:lnTo>
                    <a:pt x="1295" y="3322"/>
                  </a:lnTo>
                  <a:lnTo>
                    <a:pt x="1100" y="3639"/>
                  </a:lnTo>
                  <a:lnTo>
                    <a:pt x="929" y="3957"/>
                  </a:lnTo>
                  <a:lnTo>
                    <a:pt x="758" y="4274"/>
                  </a:lnTo>
                  <a:lnTo>
                    <a:pt x="611" y="4616"/>
                  </a:lnTo>
                  <a:lnTo>
                    <a:pt x="465" y="4958"/>
                  </a:lnTo>
                  <a:lnTo>
                    <a:pt x="343" y="5300"/>
                  </a:lnTo>
                  <a:lnTo>
                    <a:pt x="245" y="5666"/>
                  </a:lnTo>
                  <a:lnTo>
                    <a:pt x="172" y="6033"/>
                  </a:lnTo>
                  <a:lnTo>
                    <a:pt x="98" y="6399"/>
                  </a:lnTo>
                  <a:lnTo>
                    <a:pt x="49" y="6790"/>
                  </a:lnTo>
                  <a:lnTo>
                    <a:pt x="25" y="7156"/>
                  </a:lnTo>
                  <a:lnTo>
                    <a:pt x="1" y="7547"/>
                  </a:lnTo>
                  <a:lnTo>
                    <a:pt x="25" y="7938"/>
                  </a:lnTo>
                  <a:lnTo>
                    <a:pt x="49" y="8328"/>
                  </a:lnTo>
                  <a:lnTo>
                    <a:pt x="98" y="8695"/>
                  </a:lnTo>
                  <a:lnTo>
                    <a:pt x="172" y="9085"/>
                  </a:lnTo>
                  <a:lnTo>
                    <a:pt x="245" y="9452"/>
                  </a:lnTo>
                  <a:lnTo>
                    <a:pt x="343" y="9794"/>
                  </a:lnTo>
                  <a:lnTo>
                    <a:pt x="465" y="10160"/>
                  </a:lnTo>
                  <a:lnTo>
                    <a:pt x="611" y="10502"/>
                  </a:lnTo>
                  <a:lnTo>
                    <a:pt x="758" y="10820"/>
                  </a:lnTo>
                  <a:lnTo>
                    <a:pt x="929" y="11161"/>
                  </a:lnTo>
                  <a:lnTo>
                    <a:pt x="1100" y="11479"/>
                  </a:lnTo>
                  <a:lnTo>
                    <a:pt x="1295" y="11772"/>
                  </a:lnTo>
                  <a:lnTo>
                    <a:pt x="1515" y="12065"/>
                  </a:lnTo>
                  <a:lnTo>
                    <a:pt x="1735" y="12358"/>
                  </a:lnTo>
                  <a:lnTo>
                    <a:pt x="1979" y="12627"/>
                  </a:lnTo>
                  <a:lnTo>
                    <a:pt x="2223" y="12895"/>
                  </a:lnTo>
                  <a:lnTo>
                    <a:pt x="2492" y="13140"/>
                  </a:lnTo>
                  <a:lnTo>
                    <a:pt x="2760" y="13384"/>
                  </a:lnTo>
                  <a:lnTo>
                    <a:pt x="3053" y="13604"/>
                  </a:lnTo>
                  <a:lnTo>
                    <a:pt x="3347" y="13824"/>
                  </a:lnTo>
                  <a:lnTo>
                    <a:pt x="3664" y="14019"/>
                  </a:lnTo>
                  <a:lnTo>
                    <a:pt x="3982" y="14190"/>
                  </a:lnTo>
                  <a:lnTo>
                    <a:pt x="4299" y="14361"/>
                  </a:lnTo>
                  <a:lnTo>
                    <a:pt x="4641" y="14507"/>
                  </a:lnTo>
                  <a:lnTo>
                    <a:pt x="4983" y="14654"/>
                  </a:lnTo>
                  <a:lnTo>
                    <a:pt x="5325" y="14776"/>
                  </a:lnTo>
                  <a:lnTo>
                    <a:pt x="5691" y="14874"/>
                  </a:lnTo>
                  <a:lnTo>
                    <a:pt x="6058" y="14947"/>
                  </a:lnTo>
                  <a:lnTo>
                    <a:pt x="6424" y="15020"/>
                  </a:lnTo>
                  <a:lnTo>
                    <a:pt x="6790" y="15069"/>
                  </a:lnTo>
                  <a:lnTo>
                    <a:pt x="7181" y="15094"/>
                  </a:lnTo>
                  <a:lnTo>
                    <a:pt x="7572" y="15118"/>
                  </a:lnTo>
                  <a:lnTo>
                    <a:pt x="7963" y="15094"/>
                  </a:lnTo>
                  <a:lnTo>
                    <a:pt x="8329" y="15069"/>
                  </a:lnTo>
                  <a:lnTo>
                    <a:pt x="8720" y="15020"/>
                  </a:lnTo>
                  <a:lnTo>
                    <a:pt x="9086" y="14947"/>
                  </a:lnTo>
                  <a:lnTo>
                    <a:pt x="9452" y="14874"/>
                  </a:lnTo>
                  <a:lnTo>
                    <a:pt x="9819" y="14776"/>
                  </a:lnTo>
                  <a:lnTo>
                    <a:pt x="10161" y="14654"/>
                  </a:lnTo>
                  <a:lnTo>
                    <a:pt x="10503" y="14507"/>
                  </a:lnTo>
                  <a:lnTo>
                    <a:pt x="10844" y="14361"/>
                  </a:lnTo>
                  <a:lnTo>
                    <a:pt x="11162" y="14190"/>
                  </a:lnTo>
                  <a:lnTo>
                    <a:pt x="11479" y="14019"/>
                  </a:lnTo>
                  <a:lnTo>
                    <a:pt x="11797" y="13824"/>
                  </a:lnTo>
                  <a:lnTo>
                    <a:pt x="12090" y="13604"/>
                  </a:lnTo>
                  <a:lnTo>
                    <a:pt x="12383" y="13384"/>
                  </a:lnTo>
                  <a:lnTo>
                    <a:pt x="12652" y="13140"/>
                  </a:lnTo>
                  <a:lnTo>
                    <a:pt x="12920" y="12895"/>
                  </a:lnTo>
                  <a:lnTo>
                    <a:pt x="13165" y="12627"/>
                  </a:lnTo>
                  <a:lnTo>
                    <a:pt x="13409" y="12358"/>
                  </a:lnTo>
                  <a:lnTo>
                    <a:pt x="13629" y="12065"/>
                  </a:lnTo>
                  <a:lnTo>
                    <a:pt x="13824" y="11772"/>
                  </a:lnTo>
                  <a:lnTo>
                    <a:pt x="14019" y="11479"/>
                  </a:lnTo>
                  <a:lnTo>
                    <a:pt x="14215" y="11161"/>
                  </a:lnTo>
                  <a:lnTo>
                    <a:pt x="14386" y="10820"/>
                  </a:lnTo>
                  <a:lnTo>
                    <a:pt x="14532" y="10502"/>
                  </a:lnTo>
                  <a:lnTo>
                    <a:pt x="14654" y="10160"/>
                  </a:lnTo>
                  <a:lnTo>
                    <a:pt x="14777" y="9794"/>
                  </a:lnTo>
                  <a:lnTo>
                    <a:pt x="14899" y="9452"/>
                  </a:lnTo>
                  <a:lnTo>
                    <a:pt x="14972" y="9085"/>
                  </a:lnTo>
                  <a:lnTo>
                    <a:pt x="15045" y="8695"/>
                  </a:lnTo>
                  <a:lnTo>
                    <a:pt x="15094" y="8328"/>
                  </a:lnTo>
                  <a:lnTo>
                    <a:pt x="15118" y="7938"/>
                  </a:lnTo>
                  <a:lnTo>
                    <a:pt x="15118" y="7547"/>
                  </a:lnTo>
                  <a:lnTo>
                    <a:pt x="15094" y="6936"/>
                  </a:lnTo>
                  <a:lnTo>
                    <a:pt x="15021" y="6326"/>
                  </a:lnTo>
                  <a:lnTo>
                    <a:pt x="14899" y="5740"/>
                  </a:lnTo>
                  <a:lnTo>
                    <a:pt x="14728" y="5178"/>
                  </a:lnTo>
                  <a:lnTo>
                    <a:pt x="14532" y="4616"/>
                  </a:lnTo>
                  <a:lnTo>
                    <a:pt x="14288" y="4079"/>
                  </a:lnTo>
                  <a:lnTo>
                    <a:pt x="13995" y="3590"/>
                  </a:lnTo>
                  <a:lnTo>
                    <a:pt x="13653" y="3102"/>
                  </a:lnTo>
                  <a:lnTo>
                    <a:pt x="13458" y="3053"/>
                  </a:lnTo>
                  <a:lnTo>
                    <a:pt x="12163" y="4347"/>
                  </a:lnTo>
                  <a:lnTo>
                    <a:pt x="12383" y="4689"/>
                  </a:lnTo>
                  <a:lnTo>
                    <a:pt x="12578" y="5056"/>
                  </a:lnTo>
                  <a:lnTo>
                    <a:pt x="12749" y="5446"/>
                  </a:lnTo>
                  <a:lnTo>
                    <a:pt x="12896" y="5837"/>
                  </a:lnTo>
                  <a:lnTo>
                    <a:pt x="13018" y="6252"/>
                  </a:lnTo>
                  <a:lnTo>
                    <a:pt x="13091" y="6668"/>
                  </a:lnTo>
                  <a:lnTo>
                    <a:pt x="13165" y="7107"/>
                  </a:lnTo>
                  <a:lnTo>
                    <a:pt x="13165" y="7547"/>
                  </a:lnTo>
                  <a:lnTo>
                    <a:pt x="13140" y="8133"/>
                  </a:lnTo>
                  <a:lnTo>
                    <a:pt x="13067" y="8695"/>
                  </a:lnTo>
                  <a:lnTo>
                    <a:pt x="12920" y="9208"/>
                  </a:lnTo>
                  <a:lnTo>
                    <a:pt x="12725" y="9745"/>
                  </a:lnTo>
                  <a:lnTo>
                    <a:pt x="12505" y="10233"/>
                  </a:lnTo>
                  <a:lnTo>
                    <a:pt x="12212" y="10673"/>
                  </a:lnTo>
                  <a:lnTo>
                    <a:pt x="11895" y="11113"/>
                  </a:lnTo>
                  <a:lnTo>
                    <a:pt x="11528" y="11503"/>
                  </a:lnTo>
                  <a:lnTo>
                    <a:pt x="11138" y="11870"/>
                  </a:lnTo>
                  <a:lnTo>
                    <a:pt x="10698" y="12187"/>
                  </a:lnTo>
                  <a:lnTo>
                    <a:pt x="10234" y="12480"/>
                  </a:lnTo>
                  <a:lnTo>
                    <a:pt x="9745" y="12725"/>
                  </a:lnTo>
                  <a:lnTo>
                    <a:pt x="9233" y="12895"/>
                  </a:lnTo>
                  <a:lnTo>
                    <a:pt x="8695" y="13042"/>
                  </a:lnTo>
                  <a:lnTo>
                    <a:pt x="8133" y="13140"/>
                  </a:lnTo>
                  <a:lnTo>
                    <a:pt x="7572" y="13164"/>
                  </a:lnTo>
                  <a:lnTo>
                    <a:pt x="6986" y="13140"/>
                  </a:lnTo>
                  <a:lnTo>
                    <a:pt x="6448" y="13042"/>
                  </a:lnTo>
                  <a:lnTo>
                    <a:pt x="5911" y="12895"/>
                  </a:lnTo>
                  <a:lnTo>
                    <a:pt x="5398" y="12725"/>
                  </a:lnTo>
                  <a:lnTo>
                    <a:pt x="4910" y="12480"/>
                  </a:lnTo>
                  <a:lnTo>
                    <a:pt x="4446" y="12187"/>
                  </a:lnTo>
                  <a:lnTo>
                    <a:pt x="4006" y="11870"/>
                  </a:lnTo>
                  <a:lnTo>
                    <a:pt x="3615" y="11503"/>
                  </a:lnTo>
                  <a:lnTo>
                    <a:pt x="3249" y="11113"/>
                  </a:lnTo>
                  <a:lnTo>
                    <a:pt x="2931" y="10673"/>
                  </a:lnTo>
                  <a:lnTo>
                    <a:pt x="2638" y="10233"/>
                  </a:lnTo>
                  <a:lnTo>
                    <a:pt x="2418" y="9745"/>
                  </a:lnTo>
                  <a:lnTo>
                    <a:pt x="2223" y="9208"/>
                  </a:lnTo>
                  <a:lnTo>
                    <a:pt x="2077" y="8695"/>
                  </a:lnTo>
                  <a:lnTo>
                    <a:pt x="2003" y="8133"/>
                  </a:lnTo>
                  <a:lnTo>
                    <a:pt x="1954" y="7547"/>
                  </a:lnTo>
                  <a:lnTo>
                    <a:pt x="2003" y="6985"/>
                  </a:lnTo>
                  <a:lnTo>
                    <a:pt x="2077" y="6423"/>
                  </a:lnTo>
                  <a:lnTo>
                    <a:pt x="2223" y="5886"/>
                  </a:lnTo>
                  <a:lnTo>
                    <a:pt x="2418" y="5373"/>
                  </a:lnTo>
                  <a:lnTo>
                    <a:pt x="2638" y="4885"/>
                  </a:lnTo>
                  <a:lnTo>
                    <a:pt x="2931" y="4421"/>
                  </a:lnTo>
                  <a:lnTo>
                    <a:pt x="3249" y="4005"/>
                  </a:lnTo>
                  <a:lnTo>
                    <a:pt x="3615" y="3590"/>
                  </a:lnTo>
                  <a:lnTo>
                    <a:pt x="4006" y="3224"/>
                  </a:lnTo>
                  <a:lnTo>
                    <a:pt x="4446" y="2906"/>
                  </a:lnTo>
                  <a:lnTo>
                    <a:pt x="4910" y="2638"/>
                  </a:lnTo>
                  <a:lnTo>
                    <a:pt x="5398" y="2394"/>
                  </a:lnTo>
                  <a:lnTo>
                    <a:pt x="5911" y="2198"/>
                  </a:lnTo>
                  <a:lnTo>
                    <a:pt x="6448" y="2076"/>
                  </a:lnTo>
                  <a:lnTo>
                    <a:pt x="6986" y="1978"/>
                  </a:lnTo>
                  <a:lnTo>
                    <a:pt x="7572" y="1954"/>
                  </a:lnTo>
                  <a:lnTo>
                    <a:pt x="8011" y="1978"/>
                  </a:lnTo>
                  <a:lnTo>
                    <a:pt x="8451" y="2027"/>
                  </a:lnTo>
                  <a:lnTo>
                    <a:pt x="8866" y="2100"/>
                  </a:lnTo>
                  <a:lnTo>
                    <a:pt x="9281" y="2223"/>
                  </a:lnTo>
                  <a:lnTo>
                    <a:pt x="9672" y="2369"/>
                  </a:lnTo>
                  <a:lnTo>
                    <a:pt x="10063" y="2540"/>
                  </a:lnTo>
                  <a:lnTo>
                    <a:pt x="10429" y="2735"/>
                  </a:lnTo>
                  <a:lnTo>
                    <a:pt x="10771" y="2955"/>
                  </a:lnTo>
                  <a:lnTo>
                    <a:pt x="11943" y="1807"/>
                  </a:lnTo>
                  <a:lnTo>
                    <a:pt x="11846" y="1343"/>
                  </a:lnTo>
                  <a:lnTo>
                    <a:pt x="11382" y="1026"/>
                  </a:lnTo>
                  <a:lnTo>
                    <a:pt x="10893" y="782"/>
                  </a:lnTo>
                  <a:lnTo>
                    <a:pt x="10380" y="537"/>
                  </a:lnTo>
                  <a:lnTo>
                    <a:pt x="9843" y="342"/>
                  </a:lnTo>
                  <a:lnTo>
                    <a:pt x="9306" y="195"/>
                  </a:lnTo>
                  <a:lnTo>
                    <a:pt x="8744" y="98"/>
                  </a:lnTo>
                  <a:lnTo>
                    <a:pt x="8158" y="25"/>
                  </a:lnTo>
                  <a:lnTo>
                    <a:pt x="757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24" name="Shape 857"/>
            <p:cNvSpPr/>
            <p:nvPr/>
          </p:nvSpPr>
          <p:spPr>
            <a:xfrm>
              <a:off x="6068500" y="1771875"/>
              <a:ext cx="182575" cy="182600"/>
            </a:xfrm>
            <a:custGeom>
              <a:avLst/>
              <a:gdLst/>
              <a:ahLst/>
              <a:cxnLst/>
              <a:rect l="0" t="0" r="0" b="0"/>
              <a:pathLst>
                <a:path w="7303" h="7304" extrusionOk="0">
                  <a:moveTo>
                    <a:pt x="3664" y="1"/>
                  </a:moveTo>
                  <a:lnTo>
                    <a:pt x="3297" y="25"/>
                  </a:lnTo>
                  <a:lnTo>
                    <a:pt x="2931" y="74"/>
                  </a:lnTo>
                  <a:lnTo>
                    <a:pt x="2565" y="147"/>
                  </a:lnTo>
                  <a:lnTo>
                    <a:pt x="2247" y="294"/>
                  </a:lnTo>
                  <a:lnTo>
                    <a:pt x="1930" y="440"/>
                  </a:lnTo>
                  <a:lnTo>
                    <a:pt x="1612" y="611"/>
                  </a:lnTo>
                  <a:lnTo>
                    <a:pt x="1344" y="831"/>
                  </a:lnTo>
                  <a:lnTo>
                    <a:pt x="1075" y="1075"/>
                  </a:lnTo>
                  <a:lnTo>
                    <a:pt x="831" y="1320"/>
                  </a:lnTo>
                  <a:lnTo>
                    <a:pt x="635" y="1613"/>
                  </a:lnTo>
                  <a:lnTo>
                    <a:pt x="440" y="1906"/>
                  </a:lnTo>
                  <a:lnTo>
                    <a:pt x="293" y="2223"/>
                  </a:lnTo>
                  <a:lnTo>
                    <a:pt x="171" y="2565"/>
                  </a:lnTo>
                  <a:lnTo>
                    <a:pt x="74" y="2907"/>
                  </a:lnTo>
                  <a:lnTo>
                    <a:pt x="25" y="3273"/>
                  </a:lnTo>
                  <a:lnTo>
                    <a:pt x="0" y="3640"/>
                  </a:lnTo>
                  <a:lnTo>
                    <a:pt x="25" y="4031"/>
                  </a:lnTo>
                  <a:lnTo>
                    <a:pt x="74" y="4373"/>
                  </a:lnTo>
                  <a:lnTo>
                    <a:pt x="171" y="4739"/>
                  </a:lnTo>
                  <a:lnTo>
                    <a:pt x="293" y="5081"/>
                  </a:lnTo>
                  <a:lnTo>
                    <a:pt x="440" y="5398"/>
                  </a:lnTo>
                  <a:lnTo>
                    <a:pt x="635" y="5691"/>
                  </a:lnTo>
                  <a:lnTo>
                    <a:pt x="831" y="5960"/>
                  </a:lnTo>
                  <a:lnTo>
                    <a:pt x="1075" y="6229"/>
                  </a:lnTo>
                  <a:lnTo>
                    <a:pt x="1344" y="6473"/>
                  </a:lnTo>
                  <a:lnTo>
                    <a:pt x="1612" y="6668"/>
                  </a:lnTo>
                  <a:lnTo>
                    <a:pt x="1930" y="6864"/>
                  </a:lnTo>
                  <a:lnTo>
                    <a:pt x="2247" y="7010"/>
                  </a:lnTo>
                  <a:lnTo>
                    <a:pt x="2565" y="7132"/>
                  </a:lnTo>
                  <a:lnTo>
                    <a:pt x="2931" y="7230"/>
                  </a:lnTo>
                  <a:lnTo>
                    <a:pt x="3297" y="7279"/>
                  </a:lnTo>
                  <a:lnTo>
                    <a:pt x="3664" y="7303"/>
                  </a:lnTo>
                  <a:lnTo>
                    <a:pt x="4030" y="7279"/>
                  </a:lnTo>
                  <a:lnTo>
                    <a:pt x="4396" y="7230"/>
                  </a:lnTo>
                  <a:lnTo>
                    <a:pt x="4738" y="7132"/>
                  </a:lnTo>
                  <a:lnTo>
                    <a:pt x="5080" y="7010"/>
                  </a:lnTo>
                  <a:lnTo>
                    <a:pt x="5398" y="6864"/>
                  </a:lnTo>
                  <a:lnTo>
                    <a:pt x="5691" y="6668"/>
                  </a:lnTo>
                  <a:lnTo>
                    <a:pt x="5984" y="6473"/>
                  </a:lnTo>
                  <a:lnTo>
                    <a:pt x="6253" y="6229"/>
                  </a:lnTo>
                  <a:lnTo>
                    <a:pt x="6472" y="5960"/>
                  </a:lnTo>
                  <a:lnTo>
                    <a:pt x="6692" y="5691"/>
                  </a:lnTo>
                  <a:lnTo>
                    <a:pt x="6863" y="5398"/>
                  </a:lnTo>
                  <a:lnTo>
                    <a:pt x="7034" y="5081"/>
                  </a:lnTo>
                  <a:lnTo>
                    <a:pt x="7156" y="4739"/>
                  </a:lnTo>
                  <a:lnTo>
                    <a:pt x="7230" y="4373"/>
                  </a:lnTo>
                  <a:lnTo>
                    <a:pt x="7303" y="4031"/>
                  </a:lnTo>
                  <a:lnTo>
                    <a:pt x="7303" y="3640"/>
                  </a:lnTo>
                  <a:lnTo>
                    <a:pt x="7303" y="3396"/>
                  </a:lnTo>
                  <a:lnTo>
                    <a:pt x="7278" y="3176"/>
                  </a:lnTo>
                  <a:lnTo>
                    <a:pt x="7254" y="2932"/>
                  </a:lnTo>
                  <a:lnTo>
                    <a:pt x="7181" y="2712"/>
                  </a:lnTo>
                  <a:lnTo>
                    <a:pt x="7132" y="2492"/>
                  </a:lnTo>
                  <a:lnTo>
                    <a:pt x="7034" y="2272"/>
                  </a:lnTo>
                  <a:lnTo>
                    <a:pt x="6839" y="1857"/>
                  </a:lnTo>
                  <a:lnTo>
                    <a:pt x="5325" y="3347"/>
                  </a:lnTo>
                  <a:lnTo>
                    <a:pt x="5349" y="3640"/>
                  </a:lnTo>
                  <a:lnTo>
                    <a:pt x="5349" y="3811"/>
                  </a:lnTo>
                  <a:lnTo>
                    <a:pt x="5325" y="3982"/>
                  </a:lnTo>
                  <a:lnTo>
                    <a:pt x="5276" y="4153"/>
                  </a:lnTo>
                  <a:lnTo>
                    <a:pt x="5227" y="4299"/>
                  </a:lnTo>
                  <a:lnTo>
                    <a:pt x="5154" y="4446"/>
                  </a:lnTo>
                  <a:lnTo>
                    <a:pt x="5080" y="4592"/>
                  </a:lnTo>
                  <a:lnTo>
                    <a:pt x="4983" y="4739"/>
                  </a:lnTo>
                  <a:lnTo>
                    <a:pt x="4860" y="4861"/>
                  </a:lnTo>
                  <a:lnTo>
                    <a:pt x="4738" y="4959"/>
                  </a:lnTo>
                  <a:lnTo>
                    <a:pt x="4616" y="5056"/>
                  </a:lnTo>
                  <a:lnTo>
                    <a:pt x="4470" y="5154"/>
                  </a:lnTo>
                  <a:lnTo>
                    <a:pt x="4323" y="5203"/>
                  </a:lnTo>
                  <a:lnTo>
                    <a:pt x="4177" y="5276"/>
                  </a:lnTo>
                  <a:lnTo>
                    <a:pt x="4006" y="5301"/>
                  </a:lnTo>
                  <a:lnTo>
                    <a:pt x="3835" y="5349"/>
                  </a:lnTo>
                  <a:lnTo>
                    <a:pt x="3493" y="5349"/>
                  </a:lnTo>
                  <a:lnTo>
                    <a:pt x="3322" y="5301"/>
                  </a:lnTo>
                  <a:lnTo>
                    <a:pt x="3151" y="5276"/>
                  </a:lnTo>
                  <a:lnTo>
                    <a:pt x="3004" y="5203"/>
                  </a:lnTo>
                  <a:lnTo>
                    <a:pt x="2858" y="5154"/>
                  </a:lnTo>
                  <a:lnTo>
                    <a:pt x="2711" y="5056"/>
                  </a:lnTo>
                  <a:lnTo>
                    <a:pt x="2589" y="4959"/>
                  </a:lnTo>
                  <a:lnTo>
                    <a:pt x="2467" y="4861"/>
                  </a:lnTo>
                  <a:lnTo>
                    <a:pt x="2345" y="4739"/>
                  </a:lnTo>
                  <a:lnTo>
                    <a:pt x="2247" y="4592"/>
                  </a:lnTo>
                  <a:lnTo>
                    <a:pt x="2174" y="4446"/>
                  </a:lnTo>
                  <a:lnTo>
                    <a:pt x="2101" y="4299"/>
                  </a:lnTo>
                  <a:lnTo>
                    <a:pt x="2027" y="4153"/>
                  </a:lnTo>
                  <a:lnTo>
                    <a:pt x="2003" y="3982"/>
                  </a:lnTo>
                  <a:lnTo>
                    <a:pt x="1979" y="3811"/>
                  </a:lnTo>
                  <a:lnTo>
                    <a:pt x="1954" y="3640"/>
                  </a:lnTo>
                  <a:lnTo>
                    <a:pt x="1979" y="3469"/>
                  </a:lnTo>
                  <a:lnTo>
                    <a:pt x="2003" y="3298"/>
                  </a:lnTo>
                  <a:lnTo>
                    <a:pt x="2027" y="3151"/>
                  </a:lnTo>
                  <a:lnTo>
                    <a:pt x="2101" y="2980"/>
                  </a:lnTo>
                  <a:lnTo>
                    <a:pt x="2174" y="2834"/>
                  </a:lnTo>
                  <a:lnTo>
                    <a:pt x="2247" y="2687"/>
                  </a:lnTo>
                  <a:lnTo>
                    <a:pt x="2345" y="2565"/>
                  </a:lnTo>
                  <a:lnTo>
                    <a:pt x="2467" y="2443"/>
                  </a:lnTo>
                  <a:lnTo>
                    <a:pt x="2589" y="2345"/>
                  </a:lnTo>
                  <a:lnTo>
                    <a:pt x="2711" y="2248"/>
                  </a:lnTo>
                  <a:lnTo>
                    <a:pt x="2858" y="2150"/>
                  </a:lnTo>
                  <a:lnTo>
                    <a:pt x="3004" y="2077"/>
                  </a:lnTo>
                  <a:lnTo>
                    <a:pt x="3151" y="2028"/>
                  </a:lnTo>
                  <a:lnTo>
                    <a:pt x="3322" y="1979"/>
                  </a:lnTo>
                  <a:lnTo>
                    <a:pt x="3493" y="1955"/>
                  </a:lnTo>
                  <a:lnTo>
                    <a:pt x="3664" y="1955"/>
                  </a:lnTo>
                  <a:lnTo>
                    <a:pt x="3957" y="1979"/>
                  </a:lnTo>
                  <a:lnTo>
                    <a:pt x="5447" y="465"/>
                  </a:lnTo>
                  <a:lnTo>
                    <a:pt x="5056" y="269"/>
                  </a:lnTo>
                  <a:lnTo>
                    <a:pt x="4836" y="196"/>
                  </a:lnTo>
                  <a:lnTo>
                    <a:pt x="4616" y="123"/>
                  </a:lnTo>
                  <a:lnTo>
                    <a:pt x="4372" y="74"/>
                  </a:lnTo>
                  <a:lnTo>
                    <a:pt x="4152" y="25"/>
                  </a:lnTo>
                  <a:lnTo>
                    <a:pt x="390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26" name="Shape 858"/>
            <p:cNvSpPr/>
            <p:nvPr/>
          </p:nvSpPr>
          <p:spPr>
            <a:xfrm>
              <a:off x="5981175" y="2005125"/>
              <a:ext cx="75125" cy="70850"/>
            </a:xfrm>
            <a:custGeom>
              <a:avLst/>
              <a:gdLst/>
              <a:ahLst/>
              <a:cxnLst/>
              <a:rect l="0" t="0" r="0" b="0"/>
              <a:pathLst>
                <a:path w="3005" h="2834" extrusionOk="0">
                  <a:moveTo>
                    <a:pt x="1466" y="0"/>
                  </a:moveTo>
                  <a:lnTo>
                    <a:pt x="294" y="1173"/>
                  </a:lnTo>
                  <a:lnTo>
                    <a:pt x="172" y="1319"/>
                  </a:lnTo>
                  <a:lnTo>
                    <a:pt x="74" y="1490"/>
                  </a:lnTo>
                  <a:lnTo>
                    <a:pt x="25" y="1661"/>
                  </a:lnTo>
                  <a:lnTo>
                    <a:pt x="1" y="1857"/>
                  </a:lnTo>
                  <a:lnTo>
                    <a:pt x="25" y="2052"/>
                  </a:lnTo>
                  <a:lnTo>
                    <a:pt x="74" y="2223"/>
                  </a:lnTo>
                  <a:lnTo>
                    <a:pt x="172" y="2394"/>
                  </a:lnTo>
                  <a:lnTo>
                    <a:pt x="294" y="2540"/>
                  </a:lnTo>
                  <a:lnTo>
                    <a:pt x="440" y="2663"/>
                  </a:lnTo>
                  <a:lnTo>
                    <a:pt x="611" y="2760"/>
                  </a:lnTo>
                  <a:lnTo>
                    <a:pt x="807" y="2809"/>
                  </a:lnTo>
                  <a:lnTo>
                    <a:pt x="978" y="2833"/>
                  </a:lnTo>
                  <a:lnTo>
                    <a:pt x="1173" y="2809"/>
                  </a:lnTo>
                  <a:lnTo>
                    <a:pt x="1344" y="2760"/>
                  </a:lnTo>
                  <a:lnTo>
                    <a:pt x="1515" y="2663"/>
                  </a:lnTo>
                  <a:lnTo>
                    <a:pt x="1686" y="2540"/>
                  </a:lnTo>
                  <a:lnTo>
                    <a:pt x="2858" y="1368"/>
                  </a:lnTo>
                  <a:lnTo>
                    <a:pt x="3005" y="1197"/>
                  </a:lnTo>
                  <a:lnTo>
                    <a:pt x="2590" y="928"/>
                  </a:lnTo>
                  <a:lnTo>
                    <a:pt x="2199" y="635"/>
                  </a:lnTo>
                  <a:lnTo>
                    <a:pt x="1808" y="342"/>
                  </a:lnTo>
                  <a:lnTo>
                    <a:pt x="146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27" name="Shape 859"/>
            <p:cNvSpPr/>
            <p:nvPr/>
          </p:nvSpPr>
          <p:spPr>
            <a:xfrm>
              <a:off x="6263875" y="2005125"/>
              <a:ext cx="74525" cy="70850"/>
            </a:xfrm>
            <a:custGeom>
              <a:avLst/>
              <a:gdLst/>
              <a:ahLst/>
              <a:cxnLst/>
              <a:rect l="0" t="0" r="0" b="0"/>
              <a:pathLst>
                <a:path w="2981" h="2834" extrusionOk="0">
                  <a:moveTo>
                    <a:pt x="1539" y="0"/>
                  </a:moveTo>
                  <a:lnTo>
                    <a:pt x="1173" y="342"/>
                  </a:lnTo>
                  <a:lnTo>
                    <a:pt x="807" y="635"/>
                  </a:lnTo>
                  <a:lnTo>
                    <a:pt x="416" y="928"/>
                  </a:lnTo>
                  <a:lnTo>
                    <a:pt x="1" y="1197"/>
                  </a:lnTo>
                  <a:lnTo>
                    <a:pt x="123" y="1368"/>
                  </a:lnTo>
                  <a:lnTo>
                    <a:pt x="1319" y="2540"/>
                  </a:lnTo>
                  <a:lnTo>
                    <a:pt x="1466" y="2663"/>
                  </a:lnTo>
                  <a:lnTo>
                    <a:pt x="1637" y="2760"/>
                  </a:lnTo>
                  <a:lnTo>
                    <a:pt x="1832" y="2809"/>
                  </a:lnTo>
                  <a:lnTo>
                    <a:pt x="2003" y="2833"/>
                  </a:lnTo>
                  <a:lnTo>
                    <a:pt x="2199" y="2809"/>
                  </a:lnTo>
                  <a:lnTo>
                    <a:pt x="2370" y="2760"/>
                  </a:lnTo>
                  <a:lnTo>
                    <a:pt x="2541" y="2663"/>
                  </a:lnTo>
                  <a:lnTo>
                    <a:pt x="2712" y="2540"/>
                  </a:lnTo>
                  <a:lnTo>
                    <a:pt x="2834" y="2394"/>
                  </a:lnTo>
                  <a:lnTo>
                    <a:pt x="2931" y="2223"/>
                  </a:lnTo>
                  <a:lnTo>
                    <a:pt x="2980" y="2052"/>
                  </a:lnTo>
                  <a:lnTo>
                    <a:pt x="2980" y="1857"/>
                  </a:lnTo>
                  <a:lnTo>
                    <a:pt x="2980" y="1661"/>
                  </a:lnTo>
                  <a:lnTo>
                    <a:pt x="2931" y="1490"/>
                  </a:lnTo>
                  <a:lnTo>
                    <a:pt x="2834" y="1319"/>
                  </a:lnTo>
                  <a:lnTo>
                    <a:pt x="2712" y="1173"/>
                  </a:lnTo>
                  <a:lnTo>
                    <a:pt x="153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  <p:sp>
          <p:nvSpPr>
            <p:cNvPr id="28" name="Shape 860"/>
            <p:cNvSpPr/>
            <p:nvPr/>
          </p:nvSpPr>
          <p:spPr>
            <a:xfrm>
              <a:off x="6147875" y="1619250"/>
              <a:ext cx="251575" cy="255850"/>
            </a:xfrm>
            <a:custGeom>
              <a:avLst/>
              <a:gdLst/>
              <a:ahLst/>
              <a:cxnLst/>
              <a:rect l="0" t="0" r="0" b="0"/>
              <a:pathLst>
                <a:path w="10063" h="10234" extrusionOk="0">
                  <a:moveTo>
                    <a:pt x="7352" y="0"/>
                  </a:moveTo>
                  <a:lnTo>
                    <a:pt x="7254" y="24"/>
                  </a:lnTo>
                  <a:lnTo>
                    <a:pt x="7181" y="73"/>
                  </a:lnTo>
                  <a:lnTo>
                    <a:pt x="7083" y="147"/>
                  </a:lnTo>
                  <a:lnTo>
                    <a:pt x="5447" y="1758"/>
                  </a:lnTo>
                  <a:lnTo>
                    <a:pt x="5373" y="1856"/>
                  </a:lnTo>
                  <a:lnTo>
                    <a:pt x="5300" y="1978"/>
                  </a:lnTo>
                  <a:lnTo>
                    <a:pt x="5227" y="2125"/>
                  </a:lnTo>
                  <a:lnTo>
                    <a:pt x="5178" y="2247"/>
                  </a:lnTo>
                  <a:lnTo>
                    <a:pt x="5154" y="2393"/>
                  </a:lnTo>
                  <a:lnTo>
                    <a:pt x="5129" y="2540"/>
                  </a:lnTo>
                  <a:lnTo>
                    <a:pt x="5129" y="2687"/>
                  </a:lnTo>
                  <a:lnTo>
                    <a:pt x="5129" y="2809"/>
                  </a:lnTo>
                  <a:lnTo>
                    <a:pt x="5349" y="3981"/>
                  </a:lnTo>
                  <a:lnTo>
                    <a:pt x="5398" y="4152"/>
                  </a:lnTo>
                  <a:lnTo>
                    <a:pt x="147" y="9403"/>
                  </a:lnTo>
                  <a:lnTo>
                    <a:pt x="74" y="9476"/>
                  </a:lnTo>
                  <a:lnTo>
                    <a:pt x="25" y="9574"/>
                  </a:lnTo>
                  <a:lnTo>
                    <a:pt x="0" y="9672"/>
                  </a:lnTo>
                  <a:lnTo>
                    <a:pt x="0" y="9745"/>
                  </a:lnTo>
                  <a:lnTo>
                    <a:pt x="0" y="9843"/>
                  </a:lnTo>
                  <a:lnTo>
                    <a:pt x="25" y="9940"/>
                  </a:lnTo>
                  <a:lnTo>
                    <a:pt x="74" y="10013"/>
                  </a:lnTo>
                  <a:lnTo>
                    <a:pt x="147" y="10087"/>
                  </a:lnTo>
                  <a:lnTo>
                    <a:pt x="220" y="10160"/>
                  </a:lnTo>
                  <a:lnTo>
                    <a:pt x="293" y="10209"/>
                  </a:lnTo>
                  <a:lnTo>
                    <a:pt x="391" y="10233"/>
                  </a:lnTo>
                  <a:lnTo>
                    <a:pt x="586" y="10233"/>
                  </a:lnTo>
                  <a:lnTo>
                    <a:pt x="660" y="10209"/>
                  </a:lnTo>
                  <a:lnTo>
                    <a:pt x="757" y="10160"/>
                  </a:lnTo>
                  <a:lnTo>
                    <a:pt x="831" y="10087"/>
                  </a:lnTo>
                  <a:lnTo>
                    <a:pt x="6204" y="4738"/>
                  </a:lnTo>
                  <a:lnTo>
                    <a:pt x="7254" y="4909"/>
                  </a:lnTo>
                  <a:lnTo>
                    <a:pt x="7376" y="4933"/>
                  </a:lnTo>
                  <a:lnTo>
                    <a:pt x="7523" y="4933"/>
                  </a:lnTo>
                  <a:lnTo>
                    <a:pt x="7645" y="4909"/>
                  </a:lnTo>
                  <a:lnTo>
                    <a:pt x="7791" y="4860"/>
                  </a:lnTo>
                  <a:lnTo>
                    <a:pt x="7938" y="4811"/>
                  </a:lnTo>
                  <a:lnTo>
                    <a:pt x="8060" y="4763"/>
                  </a:lnTo>
                  <a:lnTo>
                    <a:pt x="8182" y="4689"/>
                  </a:lnTo>
                  <a:lnTo>
                    <a:pt x="8280" y="4592"/>
                  </a:lnTo>
                  <a:lnTo>
                    <a:pt x="9916" y="2955"/>
                  </a:lnTo>
                  <a:lnTo>
                    <a:pt x="9989" y="2882"/>
                  </a:lnTo>
                  <a:lnTo>
                    <a:pt x="10038" y="2784"/>
                  </a:lnTo>
                  <a:lnTo>
                    <a:pt x="10063" y="2711"/>
                  </a:lnTo>
                  <a:lnTo>
                    <a:pt x="10038" y="2613"/>
                  </a:lnTo>
                  <a:lnTo>
                    <a:pt x="10014" y="2564"/>
                  </a:lnTo>
                  <a:lnTo>
                    <a:pt x="9940" y="2491"/>
                  </a:lnTo>
                  <a:lnTo>
                    <a:pt x="9843" y="2442"/>
                  </a:lnTo>
                  <a:lnTo>
                    <a:pt x="9745" y="2418"/>
                  </a:lnTo>
                  <a:lnTo>
                    <a:pt x="8695" y="2223"/>
                  </a:lnTo>
                  <a:lnTo>
                    <a:pt x="9721" y="1197"/>
                  </a:lnTo>
                  <a:lnTo>
                    <a:pt x="9794" y="1123"/>
                  </a:lnTo>
                  <a:lnTo>
                    <a:pt x="9843" y="1026"/>
                  </a:lnTo>
                  <a:lnTo>
                    <a:pt x="9867" y="953"/>
                  </a:lnTo>
                  <a:lnTo>
                    <a:pt x="9867" y="855"/>
                  </a:lnTo>
                  <a:lnTo>
                    <a:pt x="9867" y="757"/>
                  </a:lnTo>
                  <a:lnTo>
                    <a:pt x="9843" y="659"/>
                  </a:lnTo>
                  <a:lnTo>
                    <a:pt x="9794" y="586"/>
                  </a:lnTo>
                  <a:lnTo>
                    <a:pt x="9721" y="513"/>
                  </a:lnTo>
                  <a:lnTo>
                    <a:pt x="9647" y="440"/>
                  </a:lnTo>
                  <a:lnTo>
                    <a:pt x="9574" y="391"/>
                  </a:lnTo>
                  <a:lnTo>
                    <a:pt x="9476" y="366"/>
                  </a:lnTo>
                  <a:lnTo>
                    <a:pt x="9281" y="366"/>
                  </a:lnTo>
                  <a:lnTo>
                    <a:pt x="9208" y="391"/>
                  </a:lnTo>
                  <a:lnTo>
                    <a:pt x="9110" y="440"/>
                  </a:lnTo>
                  <a:lnTo>
                    <a:pt x="9037" y="513"/>
                  </a:lnTo>
                  <a:lnTo>
                    <a:pt x="7889" y="1661"/>
                  </a:lnTo>
                  <a:lnTo>
                    <a:pt x="7840" y="1490"/>
                  </a:lnTo>
                  <a:lnTo>
                    <a:pt x="7620" y="318"/>
                  </a:lnTo>
                  <a:lnTo>
                    <a:pt x="7596" y="195"/>
                  </a:lnTo>
                  <a:lnTo>
                    <a:pt x="7547" y="98"/>
                  </a:lnTo>
                  <a:lnTo>
                    <a:pt x="7498" y="49"/>
                  </a:lnTo>
                  <a:lnTo>
                    <a:pt x="742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endParaRPr/>
            </a:p>
          </p:txBody>
        </p:sp>
      </p:grpSp>
      <p:sp>
        <p:nvSpPr>
          <p:cNvPr id="30" name="Овал 29"/>
          <p:cNvSpPr/>
          <p:nvPr/>
        </p:nvSpPr>
        <p:spPr>
          <a:xfrm>
            <a:off x="570912" y="3163221"/>
            <a:ext cx="294719" cy="304326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tx2">
                    <a:lumMod val="75000"/>
                  </a:schemeClr>
                </a:solidFill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328032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56"/>
          <p:cNvSpPr>
            <a:spLocks noChangeArrowheads="1"/>
          </p:cNvSpPr>
          <p:nvPr/>
        </p:nvSpPr>
        <p:spPr bwMode="auto">
          <a:xfrm>
            <a:off x="3790965" y="4275798"/>
            <a:ext cx="2317188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</a:rPr>
              <a:t>Заключение </a:t>
            </a:r>
            <a:r>
              <a:rPr lang="ru-RU" altLang="ru-RU" sz="1200" b="1" dirty="0">
                <a:latin typeface="Arial Narrow" panose="020B0606020202030204" pitchFamily="34" charset="0"/>
              </a:rPr>
              <a:t>договора субсидирования </a:t>
            </a:r>
            <a:r>
              <a:rPr lang="ru-RU" altLang="ru-RU" sz="1200" dirty="0">
                <a:latin typeface="Arial Narrow" panose="020B0606020202030204" pitchFamily="34" charset="0"/>
              </a:rPr>
              <a:t>Фондом с БВУ/ЛК и СМСП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ru-RU" altLang="ru-RU" sz="667" dirty="0">
              <a:latin typeface="Arial Narrow" panose="020B060602020203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933" i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на бумажном носителе/через ЭЦП</a:t>
            </a:r>
          </a:p>
        </p:txBody>
      </p:sp>
      <p:sp>
        <p:nvSpPr>
          <p:cNvPr id="35" name="Title 1"/>
          <p:cNvSpPr txBox="1">
            <a:spLocks/>
          </p:cNvSpPr>
          <p:nvPr/>
        </p:nvSpPr>
        <p:spPr>
          <a:xfrm>
            <a:off x="407442" y="338822"/>
            <a:ext cx="7773240" cy="1002240"/>
          </a:xfrm>
          <a:prstGeom prst="rect">
            <a:avLst/>
          </a:prstGeom>
        </p:spPr>
        <p:txBody>
          <a:bodyPr vert="horz" lIns="121920" tIns="60960" rIns="121920" bIns="6096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ru-RU" sz="1800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II - Поддержка предпринимателей/субъектов индустриально-инновационной деятельности</a:t>
            </a:r>
          </a:p>
        </p:txBody>
      </p:sp>
      <p:sp>
        <p:nvSpPr>
          <p:cNvPr id="41" name="Номер слайда 9"/>
          <p:cNvSpPr txBox="1">
            <a:spLocks/>
          </p:cNvSpPr>
          <p:nvPr/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CA762F-A9F5-4407-AFC4-11D3F21C1EC6}" type="slidenum">
              <a:rPr lang="ru-RU" sz="1600"/>
              <a:pPr/>
              <a:t>7</a:t>
            </a:fld>
            <a:endParaRPr lang="ru-RU" sz="1600"/>
          </a:p>
        </p:txBody>
      </p:sp>
      <p:sp>
        <p:nvSpPr>
          <p:cNvPr id="29" name="Прямоугольник 28"/>
          <p:cNvSpPr/>
          <p:nvPr/>
        </p:nvSpPr>
        <p:spPr>
          <a:xfrm>
            <a:off x="355581" y="1236873"/>
            <a:ext cx="5822445" cy="617225"/>
          </a:xfrm>
          <a:prstGeom prst="rect">
            <a:avLst/>
          </a:prstGeom>
          <a:solidFill>
            <a:srgbClr val="00B050"/>
          </a:solidFill>
          <a:ln w="12700">
            <a:noFill/>
            <a:round/>
            <a:headEnd/>
            <a:tailEnd/>
          </a:ln>
        </p:spPr>
        <p:txBody>
          <a:bodyPr lIns="118497" tIns="59249" rIns="118497" bIns="59249" anchor="ctr" anchorCtr="0"/>
          <a:lstStyle/>
          <a:p>
            <a:pPr algn="ctr"/>
            <a:r>
              <a:rPr lang="ru-RU" sz="1867" b="1" dirty="0">
                <a:solidFill>
                  <a:schemeClr val="bg1"/>
                </a:solidFill>
              </a:rPr>
              <a:t>Процесс прохождения заявок по субсидированию 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 flipH="1">
            <a:off x="6182537" y="1384127"/>
            <a:ext cx="26219" cy="4972224"/>
          </a:xfrm>
          <a:prstGeom prst="line">
            <a:avLst/>
          </a:prstGeom>
          <a:ln w="15875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1027422" y="3555249"/>
            <a:ext cx="1480536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54"/>
          <p:cNvSpPr>
            <a:spLocks noChangeArrowheads="1"/>
          </p:cNvSpPr>
          <p:nvPr/>
        </p:nvSpPr>
        <p:spPr bwMode="auto">
          <a:xfrm>
            <a:off x="985794" y="2864198"/>
            <a:ext cx="1449239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</a:rPr>
              <a:t>БВУ/ЛК принимает положительное решение по СМСП</a:t>
            </a:r>
          </a:p>
        </p:txBody>
      </p:sp>
      <p:sp>
        <p:nvSpPr>
          <p:cNvPr id="32" name="Овал 31"/>
          <p:cNvSpPr/>
          <p:nvPr/>
        </p:nvSpPr>
        <p:spPr>
          <a:xfrm>
            <a:off x="1431474" y="2083820"/>
            <a:ext cx="553112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667" b="1" dirty="0"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33" name="Прямоугольник 56"/>
          <p:cNvSpPr>
            <a:spLocks noChangeArrowheads="1"/>
          </p:cNvSpPr>
          <p:nvPr/>
        </p:nvSpPr>
        <p:spPr bwMode="auto">
          <a:xfrm>
            <a:off x="4486088" y="2924679"/>
            <a:ext cx="143360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</a:rPr>
              <a:t>Рассмотрение проектов </a:t>
            </a:r>
            <a:r>
              <a:rPr lang="ru-RU" altLang="ru-RU" sz="1200" b="1" dirty="0">
                <a:latin typeface="Arial Narrow" panose="020B0606020202030204" pitchFamily="34" charset="0"/>
              </a:rPr>
              <a:t>Фондом  </a:t>
            </a:r>
            <a:r>
              <a:rPr lang="ru-RU" altLang="ru-RU" sz="1200" dirty="0">
                <a:latin typeface="Arial Narrow" panose="020B0606020202030204" pitchFamily="34" charset="0"/>
              </a:rPr>
              <a:t>– РФ, ГО*</a:t>
            </a:r>
          </a:p>
        </p:txBody>
      </p:sp>
      <p:sp>
        <p:nvSpPr>
          <p:cNvPr id="34" name="Овал 33"/>
          <p:cNvSpPr/>
          <p:nvPr/>
        </p:nvSpPr>
        <p:spPr>
          <a:xfrm>
            <a:off x="4741050" y="2103764"/>
            <a:ext cx="554907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667" b="1" dirty="0">
                <a:latin typeface="Arial Narrow" panose="020B0606020202030204" pitchFamily="34" charset="0"/>
              </a:rPr>
              <a:t>2</a:t>
            </a:r>
            <a:endParaRPr lang="ru-RU" sz="2667" b="1" dirty="0">
              <a:latin typeface="Arial Narrow" panose="020B0606020202030204" pitchFamily="34" charset="0"/>
            </a:endParaRPr>
          </a:p>
        </p:txBody>
      </p:sp>
      <p:pic>
        <p:nvPicPr>
          <p:cNvPr id="36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612" y="2838863"/>
            <a:ext cx="654480" cy="65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Рисунок 7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9789" y="2827889"/>
            <a:ext cx="727361" cy="727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9" name="Прямая со стрелкой 38"/>
          <p:cNvCxnSpPr/>
          <p:nvPr/>
        </p:nvCxnSpPr>
        <p:spPr>
          <a:xfrm>
            <a:off x="4449952" y="3562151"/>
            <a:ext cx="1561024" cy="8859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>
            <a:off x="1024479" y="5138820"/>
            <a:ext cx="1920213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>
            <a:off x="4090763" y="5123891"/>
            <a:ext cx="1920213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Овал 42"/>
          <p:cNvSpPr/>
          <p:nvPr/>
        </p:nvSpPr>
        <p:spPr>
          <a:xfrm>
            <a:off x="1477889" y="3717032"/>
            <a:ext cx="553112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667" b="1" dirty="0">
                <a:latin typeface="Arial Narrow" panose="020B0606020202030204" pitchFamily="34" charset="0"/>
              </a:rPr>
              <a:t>3</a:t>
            </a:r>
            <a:endParaRPr lang="ru-RU" sz="2667" b="1" dirty="0">
              <a:latin typeface="Arial Narrow" panose="020B0606020202030204" pitchFamily="34" charset="0"/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4712774" y="3733972"/>
            <a:ext cx="554907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667" b="1" dirty="0">
                <a:latin typeface="Arial Narrow" panose="020B0606020202030204" pitchFamily="34" charset="0"/>
              </a:rPr>
              <a:t>4</a:t>
            </a:r>
            <a:endParaRPr lang="ru-RU" sz="2667" b="1" dirty="0">
              <a:latin typeface="Arial Narrow" panose="020B0606020202030204" pitchFamily="34" charset="0"/>
            </a:endParaRPr>
          </a:p>
        </p:txBody>
      </p:sp>
      <p:pic>
        <p:nvPicPr>
          <p:cNvPr id="45" name="Рисунок 6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503" y="4215204"/>
            <a:ext cx="672001" cy="672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Рисунок 6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5353" y="4297940"/>
            <a:ext cx="579436" cy="580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Прямоугольник 56"/>
          <p:cNvSpPr>
            <a:spLocks noChangeArrowheads="1"/>
          </p:cNvSpPr>
          <p:nvPr/>
        </p:nvSpPr>
        <p:spPr bwMode="auto">
          <a:xfrm>
            <a:off x="1009185" y="4307277"/>
            <a:ext cx="184528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</a:rPr>
              <a:t>Принятие решений - Уполномоченный орган Фонда (ГО)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Arial Narrow" panose="020B0606020202030204" pitchFamily="34" charset="0"/>
              </a:rPr>
              <a:t>5 </a:t>
            </a:r>
            <a:r>
              <a:rPr lang="ru-RU" altLang="ru-RU" sz="1200" b="1" dirty="0" err="1">
                <a:latin typeface="Arial Narrow" panose="020B0606020202030204" pitchFamily="34" charset="0"/>
              </a:rPr>
              <a:t>раб.дней</a:t>
            </a:r>
            <a:endParaRPr lang="ru-RU" altLang="ru-RU" sz="1200" b="1" dirty="0">
              <a:latin typeface="Arial Narrow" panose="020B0606020202030204" pitchFamily="34" charset="0"/>
            </a:endParaRPr>
          </a:p>
        </p:txBody>
      </p:sp>
      <p:pic>
        <p:nvPicPr>
          <p:cNvPr id="53" name="Рисунок 6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4667" y="5763347"/>
            <a:ext cx="680905" cy="680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4" name="Прямая со стрелкой 53"/>
          <p:cNvCxnSpPr/>
          <p:nvPr/>
        </p:nvCxnSpPr>
        <p:spPr>
          <a:xfrm>
            <a:off x="2565875" y="6384885"/>
            <a:ext cx="1920213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Овал 54"/>
          <p:cNvSpPr/>
          <p:nvPr/>
        </p:nvSpPr>
        <p:spPr>
          <a:xfrm>
            <a:off x="3174523" y="5342125"/>
            <a:ext cx="553112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667" b="1" dirty="0">
                <a:latin typeface="Arial Narrow" panose="020B0606020202030204" pitchFamily="34" charset="0"/>
              </a:rPr>
              <a:t>5</a:t>
            </a:r>
            <a:endParaRPr lang="ru-RU" sz="2667" b="1" dirty="0">
              <a:latin typeface="Arial Narrow" panose="020B0606020202030204" pitchFamily="34" charset="0"/>
            </a:endParaRPr>
          </a:p>
        </p:txBody>
      </p:sp>
      <p:sp>
        <p:nvSpPr>
          <p:cNvPr id="56" name="Прямоугольник 56"/>
          <p:cNvSpPr>
            <a:spLocks noChangeArrowheads="1"/>
          </p:cNvSpPr>
          <p:nvPr/>
        </p:nvSpPr>
        <p:spPr bwMode="auto">
          <a:xfrm>
            <a:off x="2623813" y="5933253"/>
            <a:ext cx="184528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</a:rPr>
              <a:t>Перечисление субсидий Фондом в БВУ/ЛК</a:t>
            </a:r>
          </a:p>
        </p:txBody>
      </p:sp>
      <p:cxnSp>
        <p:nvCxnSpPr>
          <p:cNvPr id="6" name="Прямая со стрелкой 5"/>
          <p:cNvCxnSpPr/>
          <p:nvPr/>
        </p:nvCxnSpPr>
        <p:spPr>
          <a:xfrm>
            <a:off x="2621158" y="2887284"/>
            <a:ext cx="92264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/>
          <p:nvPr/>
        </p:nvCxnSpPr>
        <p:spPr>
          <a:xfrm>
            <a:off x="2634446" y="3298227"/>
            <a:ext cx="92264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6"/>
          <p:cNvSpPr>
            <a:spLocks noChangeArrowheads="1"/>
          </p:cNvSpPr>
          <p:nvPr/>
        </p:nvSpPr>
        <p:spPr bwMode="auto">
          <a:xfrm>
            <a:off x="2255313" y="2102155"/>
            <a:ext cx="1680905" cy="37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933" dirty="0">
                <a:latin typeface="+mj-lt"/>
              </a:rPr>
              <a:t>Направление пакета документов</a:t>
            </a:r>
          </a:p>
        </p:txBody>
      </p:sp>
      <p:sp>
        <p:nvSpPr>
          <p:cNvPr id="52" name="Прямоугольник 56"/>
          <p:cNvSpPr>
            <a:spLocks noChangeArrowheads="1"/>
          </p:cNvSpPr>
          <p:nvPr/>
        </p:nvSpPr>
        <p:spPr bwMode="auto">
          <a:xfrm>
            <a:off x="2420120" y="2555375"/>
            <a:ext cx="12322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ru-RU" sz="800" i="1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Egov.kz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ru-RU" sz="800" i="1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Online.damu.kz</a:t>
            </a:r>
            <a:endParaRPr lang="ru-RU" altLang="ru-RU" sz="800" i="1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7" name="Прямоугольник 56"/>
          <p:cNvSpPr>
            <a:spLocks noChangeArrowheads="1"/>
          </p:cNvSpPr>
          <p:nvPr/>
        </p:nvSpPr>
        <p:spPr bwMode="auto">
          <a:xfrm>
            <a:off x="2434357" y="2971920"/>
            <a:ext cx="12322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800" i="1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На бумажном носителе</a:t>
            </a:r>
          </a:p>
        </p:txBody>
      </p:sp>
      <p:sp>
        <p:nvSpPr>
          <p:cNvPr id="58" name="Прямоугольник 56"/>
          <p:cNvSpPr>
            <a:spLocks noChangeArrowheads="1"/>
          </p:cNvSpPr>
          <p:nvPr/>
        </p:nvSpPr>
        <p:spPr bwMode="auto">
          <a:xfrm>
            <a:off x="477503" y="6591260"/>
            <a:ext cx="291394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800" i="1" dirty="0">
                <a:latin typeface="+mj-lt"/>
              </a:rPr>
              <a:t>*РФ – региональный филиал, ГО – головной офис</a:t>
            </a:r>
          </a:p>
        </p:txBody>
      </p:sp>
      <p:sp>
        <p:nvSpPr>
          <p:cNvPr id="77" name="Прямоугольник 56"/>
          <p:cNvSpPr>
            <a:spLocks noChangeArrowheads="1"/>
          </p:cNvSpPr>
          <p:nvPr/>
        </p:nvSpPr>
        <p:spPr bwMode="auto">
          <a:xfrm>
            <a:off x="8542194" y="5792493"/>
            <a:ext cx="199591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</a:rPr>
              <a:t>Заключение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Arial Narrow" panose="020B0606020202030204" pitchFamily="34" charset="0"/>
              </a:rPr>
              <a:t>договора гарантии </a:t>
            </a:r>
            <a:r>
              <a:rPr lang="ru-RU" altLang="ru-RU" sz="1200" dirty="0">
                <a:latin typeface="Arial Narrow" panose="020B0606020202030204" pitchFamily="34" charset="0"/>
              </a:rPr>
              <a:t>между Фондом, БВУ и СМСП</a:t>
            </a:r>
          </a:p>
        </p:txBody>
      </p:sp>
      <p:cxnSp>
        <p:nvCxnSpPr>
          <p:cNvPr id="78" name="Прямая со стрелкой 77"/>
          <p:cNvCxnSpPr/>
          <p:nvPr/>
        </p:nvCxnSpPr>
        <p:spPr>
          <a:xfrm>
            <a:off x="7160359" y="3650598"/>
            <a:ext cx="1152128" cy="665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Прямоугольник 54"/>
          <p:cNvSpPr>
            <a:spLocks noChangeArrowheads="1"/>
          </p:cNvSpPr>
          <p:nvPr/>
        </p:nvSpPr>
        <p:spPr bwMode="auto">
          <a:xfrm>
            <a:off x="6910516" y="2998088"/>
            <a:ext cx="1651814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</a:rPr>
              <a:t>БВУ принимает положительное решение по СМП</a:t>
            </a:r>
          </a:p>
        </p:txBody>
      </p:sp>
      <p:sp>
        <p:nvSpPr>
          <p:cNvPr id="81" name="Прямоугольник 56"/>
          <p:cNvSpPr>
            <a:spLocks noChangeArrowheads="1"/>
          </p:cNvSpPr>
          <p:nvPr/>
        </p:nvSpPr>
        <p:spPr bwMode="auto">
          <a:xfrm>
            <a:off x="10675945" y="3025085"/>
            <a:ext cx="1404876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</a:rPr>
              <a:t>Рассмотрение проектов  </a:t>
            </a:r>
            <a:r>
              <a:rPr lang="ru-RU" altLang="ru-RU" sz="1200" b="1" dirty="0">
                <a:latin typeface="Arial Narrow" panose="020B0606020202030204" pitchFamily="34" charset="0"/>
              </a:rPr>
              <a:t>Фондом  </a:t>
            </a:r>
            <a:r>
              <a:rPr lang="ru-RU" altLang="ru-RU" sz="1200" dirty="0">
                <a:latin typeface="Arial Narrow" panose="020B0606020202030204" pitchFamily="34" charset="0"/>
              </a:rPr>
              <a:t>– РФ, ГО*</a:t>
            </a:r>
          </a:p>
        </p:txBody>
      </p:sp>
      <p:cxnSp>
        <p:nvCxnSpPr>
          <p:cNvPr id="85" name="Прямая со стрелкой 84"/>
          <p:cNvCxnSpPr/>
          <p:nvPr/>
        </p:nvCxnSpPr>
        <p:spPr>
          <a:xfrm flipV="1">
            <a:off x="10727456" y="3677411"/>
            <a:ext cx="1229750" cy="665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 стрелкой 85"/>
          <p:cNvCxnSpPr/>
          <p:nvPr/>
        </p:nvCxnSpPr>
        <p:spPr>
          <a:xfrm>
            <a:off x="7050706" y="5162962"/>
            <a:ext cx="1440160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/>
          <p:cNvCxnSpPr/>
          <p:nvPr/>
        </p:nvCxnSpPr>
        <p:spPr>
          <a:xfrm>
            <a:off x="8704273" y="6408770"/>
            <a:ext cx="1440160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Прямоугольник 56"/>
          <p:cNvSpPr>
            <a:spLocks noChangeArrowheads="1"/>
          </p:cNvSpPr>
          <p:nvPr/>
        </p:nvSpPr>
        <p:spPr bwMode="auto">
          <a:xfrm>
            <a:off x="6728721" y="4350857"/>
            <a:ext cx="21423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</a:rPr>
              <a:t>Принятие решений – 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</a:rPr>
              <a:t>УО Фонда (ГО)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Arial Narrow" panose="020B0606020202030204" pitchFamily="34" charset="0"/>
              </a:rPr>
              <a:t>до 500 млн – 5 </a:t>
            </a:r>
            <a:r>
              <a:rPr lang="ru-RU" altLang="ru-RU" sz="1200" b="1" dirty="0" err="1">
                <a:latin typeface="Arial Narrow" panose="020B0606020202030204" pitchFamily="34" charset="0"/>
              </a:rPr>
              <a:t>р.д</a:t>
            </a:r>
            <a:endParaRPr lang="ru-RU" altLang="ru-RU" sz="1200" b="1" dirty="0">
              <a:latin typeface="Arial Narrow" panose="020B060602020203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b="1" dirty="0">
                <a:latin typeface="Arial Narrow" panose="020B0606020202030204" pitchFamily="34" charset="0"/>
              </a:rPr>
              <a:t>свыше 500 млн – 10 </a:t>
            </a:r>
            <a:r>
              <a:rPr lang="ru-RU" altLang="ru-RU" sz="1200" b="1" dirty="0" err="1">
                <a:latin typeface="Arial Narrow" panose="020B0606020202030204" pitchFamily="34" charset="0"/>
              </a:rPr>
              <a:t>р.д</a:t>
            </a:r>
            <a:r>
              <a:rPr lang="ru-RU" altLang="ru-RU" sz="1200" b="1" dirty="0">
                <a:latin typeface="Arial Narrow" panose="020B0606020202030204" pitchFamily="34" charset="0"/>
              </a:rPr>
              <a:t>.</a:t>
            </a:r>
          </a:p>
        </p:txBody>
      </p:sp>
      <p:sp>
        <p:nvSpPr>
          <p:cNvPr id="93" name="Прямоугольник 56"/>
          <p:cNvSpPr>
            <a:spLocks noChangeArrowheads="1"/>
          </p:cNvSpPr>
          <p:nvPr/>
        </p:nvSpPr>
        <p:spPr bwMode="auto">
          <a:xfrm>
            <a:off x="10280568" y="4492916"/>
            <a:ext cx="1867574" cy="682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200" dirty="0">
                <a:latin typeface="Arial Narrow" panose="020B0606020202030204" pitchFamily="34" charset="0"/>
              </a:rPr>
              <a:t>Заключение ДБЗ/СОКЛ между БВУ и СМСП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ru-RU" altLang="ru-RU" sz="500" dirty="0">
              <a:latin typeface="Arial Narrow" panose="020B0606020202030204" pitchFamily="34" charset="0"/>
            </a:endParaRPr>
          </a:p>
          <a:p>
            <a:pPr algn="ctr">
              <a:spcBef>
                <a:spcPct val="0"/>
              </a:spcBef>
              <a:buNone/>
            </a:pPr>
            <a:r>
              <a:rPr lang="ru-RU" altLang="ru-RU" sz="933" i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на бумажном носителе/ через ЭЦП</a:t>
            </a:r>
          </a:p>
        </p:txBody>
      </p:sp>
      <p:cxnSp>
        <p:nvCxnSpPr>
          <p:cNvPr id="94" name="Прямая со стрелкой 93"/>
          <p:cNvCxnSpPr/>
          <p:nvPr/>
        </p:nvCxnSpPr>
        <p:spPr>
          <a:xfrm>
            <a:off x="10538104" y="5148907"/>
            <a:ext cx="1440160" cy="0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Прямоугольник 101"/>
          <p:cNvSpPr/>
          <p:nvPr/>
        </p:nvSpPr>
        <p:spPr>
          <a:xfrm>
            <a:off x="6224050" y="1229928"/>
            <a:ext cx="5822445" cy="617225"/>
          </a:xfrm>
          <a:prstGeom prst="rect">
            <a:avLst/>
          </a:prstGeom>
          <a:solidFill>
            <a:srgbClr val="00B050"/>
          </a:solidFill>
          <a:ln w="12700">
            <a:noFill/>
            <a:round/>
            <a:headEnd/>
            <a:tailEnd/>
          </a:ln>
        </p:spPr>
        <p:txBody>
          <a:bodyPr lIns="118497" tIns="59249" rIns="118497" bIns="59249" anchor="ctr" anchorCtr="0"/>
          <a:lstStyle/>
          <a:p>
            <a:pPr algn="ctr"/>
            <a:r>
              <a:rPr lang="ru-RU" sz="1867" b="1" dirty="0">
                <a:solidFill>
                  <a:schemeClr val="bg1"/>
                </a:solidFill>
              </a:rPr>
              <a:t>Процесс прохождения заявок по гарантированию </a:t>
            </a:r>
          </a:p>
        </p:txBody>
      </p:sp>
      <p:sp>
        <p:nvSpPr>
          <p:cNvPr id="103" name="Овал 102"/>
          <p:cNvSpPr/>
          <p:nvPr/>
        </p:nvSpPr>
        <p:spPr>
          <a:xfrm>
            <a:off x="7430334" y="2144605"/>
            <a:ext cx="553112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667" b="1" dirty="0">
                <a:latin typeface="Arial Narrow" panose="020B0606020202030204" pitchFamily="34" charset="0"/>
              </a:rPr>
              <a:t>1</a:t>
            </a:r>
          </a:p>
        </p:txBody>
      </p:sp>
      <p:sp>
        <p:nvSpPr>
          <p:cNvPr id="104" name="Овал 103"/>
          <p:cNvSpPr/>
          <p:nvPr/>
        </p:nvSpPr>
        <p:spPr>
          <a:xfrm>
            <a:off x="10980731" y="2150542"/>
            <a:ext cx="554907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667" b="1" dirty="0">
                <a:latin typeface="Arial Narrow" panose="020B0606020202030204" pitchFamily="34" charset="0"/>
              </a:rPr>
              <a:t>2</a:t>
            </a:r>
            <a:endParaRPr lang="ru-RU" sz="2667" b="1" dirty="0">
              <a:latin typeface="Arial Narrow" panose="020B0606020202030204" pitchFamily="34" charset="0"/>
            </a:endParaRPr>
          </a:p>
        </p:txBody>
      </p:sp>
      <p:sp>
        <p:nvSpPr>
          <p:cNvPr id="105" name="Овал 104"/>
          <p:cNvSpPr/>
          <p:nvPr/>
        </p:nvSpPr>
        <p:spPr>
          <a:xfrm>
            <a:off x="7446324" y="3805634"/>
            <a:ext cx="553112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667" b="1" dirty="0">
                <a:latin typeface="Arial Narrow" panose="020B0606020202030204" pitchFamily="34" charset="0"/>
              </a:rPr>
              <a:t>3</a:t>
            </a:r>
            <a:endParaRPr lang="ru-RU" sz="2667" b="1" dirty="0">
              <a:latin typeface="Arial Narrow" panose="020B0606020202030204" pitchFamily="34" charset="0"/>
            </a:endParaRPr>
          </a:p>
        </p:txBody>
      </p:sp>
      <p:sp>
        <p:nvSpPr>
          <p:cNvPr id="106" name="Овал 105"/>
          <p:cNvSpPr/>
          <p:nvPr/>
        </p:nvSpPr>
        <p:spPr>
          <a:xfrm>
            <a:off x="10980732" y="3822574"/>
            <a:ext cx="554907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667" b="1" dirty="0">
                <a:latin typeface="Arial Narrow" panose="020B0606020202030204" pitchFamily="34" charset="0"/>
              </a:rPr>
              <a:t>4</a:t>
            </a:r>
            <a:endParaRPr lang="ru-RU" sz="2667" b="1" dirty="0">
              <a:latin typeface="Arial Narrow" panose="020B0606020202030204" pitchFamily="34" charset="0"/>
            </a:endParaRPr>
          </a:p>
        </p:txBody>
      </p:sp>
      <p:sp>
        <p:nvSpPr>
          <p:cNvPr id="107" name="Овал 106"/>
          <p:cNvSpPr/>
          <p:nvPr/>
        </p:nvSpPr>
        <p:spPr>
          <a:xfrm>
            <a:off x="9135272" y="5297157"/>
            <a:ext cx="553112" cy="495336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667" b="1" dirty="0">
                <a:latin typeface="Arial Narrow" panose="020B0606020202030204" pitchFamily="34" charset="0"/>
              </a:rPr>
              <a:t>5</a:t>
            </a:r>
            <a:endParaRPr lang="ru-RU" sz="2667" b="1" dirty="0">
              <a:latin typeface="Arial Narrow" panose="020B0606020202030204" pitchFamily="34" charset="0"/>
            </a:endParaRPr>
          </a:p>
        </p:txBody>
      </p:sp>
      <p:pic>
        <p:nvPicPr>
          <p:cNvPr id="110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3830" y="2991263"/>
            <a:ext cx="654480" cy="654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Рисунок 7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4028" y="2980289"/>
            <a:ext cx="727361" cy="727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Рисунок 6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686" y="4252309"/>
            <a:ext cx="672001" cy="672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Рисунок 6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1132" y="4353102"/>
            <a:ext cx="579436" cy="580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" name="Рисунок 6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9271" y="5782268"/>
            <a:ext cx="680905" cy="680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5" name="Прямая со стрелкой 114"/>
          <p:cNvCxnSpPr/>
          <p:nvPr/>
        </p:nvCxnSpPr>
        <p:spPr>
          <a:xfrm>
            <a:off x="8812864" y="3039684"/>
            <a:ext cx="92264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 стрелкой 115"/>
          <p:cNvCxnSpPr/>
          <p:nvPr/>
        </p:nvCxnSpPr>
        <p:spPr>
          <a:xfrm>
            <a:off x="8826152" y="3450627"/>
            <a:ext cx="92264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Прямоугольник 56"/>
          <p:cNvSpPr>
            <a:spLocks noChangeArrowheads="1"/>
          </p:cNvSpPr>
          <p:nvPr/>
        </p:nvSpPr>
        <p:spPr bwMode="auto">
          <a:xfrm>
            <a:off x="8447019" y="2254555"/>
            <a:ext cx="1680905" cy="37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933" dirty="0">
                <a:latin typeface="+mj-lt"/>
              </a:rPr>
              <a:t>Направление пакета документов</a:t>
            </a:r>
          </a:p>
        </p:txBody>
      </p:sp>
      <p:sp>
        <p:nvSpPr>
          <p:cNvPr id="118" name="Прямоугольник 56"/>
          <p:cNvSpPr>
            <a:spLocks noChangeArrowheads="1"/>
          </p:cNvSpPr>
          <p:nvPr/>
        </p:nvSpPr>
        <p:spPr bwMode="auto">
          <a:xfrm>
            <a:off x="8611826" y="2707775"/>
            <a:ext cx="12322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ru-RU" sz="800" i="1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Egov.kz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ru-RU" sz="800" i="1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Online.damu.kz</a:t>
            </a:r>
            <a:endParaRPr lang="ru-RU" altLang="ru-RU" sz="800" i="1" dirty="0">
              <a:solidFill>
                <a:schemeClr val="accent3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19" name="Прямоугольник 118"/>
          <p:cNvSpPr>
            <a:spLocks noChangeArrowheads="1"/>
          </p:cNvSpPr>
          <p:nvPr/>
        </p:nvSpPr>
        <p:spPr bwMode="auto">
          <a:xfrm>
            <a:off x="8626063" y="3124320"/>
            <a:ext cx="123220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800" i="1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На бумажном носителе</a:t>
            </a:r>
          </a:p>
        </p:txBody>
      </p:sp>
      <p:sp>
        <p:nvSpPr>
          <p:cNvPr id="120" name="Прямоугольник 56"/>
          <p:cNvSpPr>
            <a:spLocks noChangeArrowheads="1"/>
          </p:cNvSpPr>
          <p:nvPr/>
        </p:nvSpPr>
        <p:spPr bwMode="auto">
          <a:xfrm>
            <a:off x="6695832" y="6591260"/>
            <a:ext cx="291394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800" i="1" dirty="0">
                <a:latin typeface="+mj-lt"/>
              </a:rPr>
              <a:t>*РФ – региональный филиал, ГО – головной офис</a:t>
            </a:r>
          </a:p>
        </p:txBody>
      </p:sp>
    </p:spTree>
    <p:extLst>
      <p:ext uri="{BB962C8B-B14F-4D97-AF65-F5344CB8AC3E}">
        <p14:creationId xmlns:p14="http://schemas.microsoft.com/office/powerpoint/2010/main" val="2110409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3598151" y="2285274"/>
            <a:ext cx="4992555" cy="768085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sz="3200">
                <a:solidFill>
                  <a:srgbClr val="0070C0"/>
                </a:solidFill>
              </a:rPr>
              <a:t>Благодарим</a:t>
            </a:r>
            <a:br>
              <a:rPr sz="3200">
                <a:solidFill>
                  <a:srgbClr val="0070C0"/>
                </a:solidFill>
              </a:rPr>
            </a:br>
            <a:r>
              <a:rPr sz="3200">
                <a:solidFill>
                  <a:srgbClr val="0070C0"/>
                </a:solidFill>
              </a:rPr>
              <a:t>за внимание!</a:t>
            </a:r>
            <a:endParaRPr sz="320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503712" y="4045390"/>
            <a:ext cx="5184576" cy="1672702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sz="1467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ловной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67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фис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050004, г. </a:t>
            </a:r>
            <a:r>
              <a:rPr sz="1467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лматы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sz="1467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л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sz="1467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голя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111</a:t>
            </a:r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sz="1467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ел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: </a:t>
            </a:r>
            <a:r>
              <a:rPr sz="1467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 (727) 244-55-66, 244-55-77</a:t>
            </a:r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all-</a:t>
            </a:r>
            <a:r>
              <a:rPr sz="1467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центр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sz="1467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08</a:t>
            </a:r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sz="1467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Факс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sz="1467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 (727) 278 07 76</a:t>
            </a:r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-mail: </a:t>
            </a:r>
            <a:r>
              <a:rPr sz="1467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fo@fund.kz</a:t>
            </a:r>
          </a:p>
          <a:p>
            <a:pPr algn="ctr">
              <a:defRPr/>
            </a:pPr>
            <a:r>
              <a:rPr sz="1467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айт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sz="1467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Фонда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sz="1467" b="1" u="sng" dirty="0">
                <a:solidFill>
                  <a:srgbClr val="0A45A6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://www.damu.kz</a:t>
            </a:r>
            <a:endParaRPr sz="1467" b="1" dirty="0">
              <a:solidFill>
                <a:srgbClr val="0A45A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sz="1467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знес-портал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sz="1467" b="1" u="sng" dirty="0">
                <a:solidFill>
                  <a:schemeClr val="hlink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http://business.gov.kz</a:t>
            </a:r>
            <a:r>
              <a:rPr sz="1467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Picture 2"/>
          <p:cNvPicPr>
            <a:picLocks noChangeArrowheads="1"/>
          </p:cNvPicPr>
          <p:nvPr/>
        </p:nvPicPr>
        <p:blipFill>
          <a:blip r:embed="rId5" cstate="print"/>
          <a:srcRect t="24519" b="23912"/>
          <a:stretch/>
        </p:blipFill>
        <p:spPr bwMode="auto">
          <a:xfrm>
            <a:off x="4751851" y="5828122"/>
            <a:ext cx="1052996" cy="38297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5"/>
          <p:cNvPicPr>
            <a:picLocks noChangeArrowheads="1"/>
          </p:cNvPicPr>
          <p:nvPr/>
        </p:nvPicPr>
        <p:blipFill>
          <a:blip r:embed="rId6" cstate="print"/>
          <a:stretch/>
        </p:blipFill>
        <p:spPr bwMode="auto">
          <a:xfrm>
            <a:off x="5858941" y="5828122"/>
            <a:ext cx="382385" cy="38238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6"/>
          <p:cNvPicPr>
            <a:picLocks noChangeArrowheads="1"/>
          </p:cNvPicPr>
          <p:nvPr/>
        </p:nvPicPr>
        <p:blipFill>
          <a:blip r:embed="rId7" cstate="print"/>
          <a:srcRect l="19176" t="3665" r="19176" b="3665"/>
          <a:stretch/>
        </p:blipFill>
        <p:spPr bwMode="auto">
          <a:xfrm>
            <a:off x="6347578" y="5828121"/>
            <a:ext cx="382657" cy="385187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7"/>
          <p:cNvPicPr>
            <a:picLocks noChangeArrowheads="1"/>
          </p:cNvPicPr>
          <p:nvPr/>
        </p:nvPicPr>
        <p:blipFill>
          <a:blip r:embed="rId8" cstate="print"/>
          <a:srcRect l="19760" t="22279" r="19760" b="22278"/>
          <a:stretch/>
        </p:blipFill>
        <p:spPr bwMode="auto">
          <a:xfrm>
            <a:off x="6822415" y="5828120"/>
            <a:ext cx="418981" cy="3840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26560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8</TotalTime>
  <Words>745</Words>
  <Application>Microsoft Office PowerPoint</Application>
  <PresentationFormat>Широкоэкранный</PresentationFormat>
  <Paragraphs>137</Paragraphs>
  <Slides>8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6" baseType="lpstr">
      <vt:lpstr>Arial</vt:lpstr>
      <vt:lpstr>Arial Narrow</vt:lpstr>
      <vt:lpstr>Calibri</vt:lpstr>
      <vt:lpstr>Calibri Light</vt:lpstr>
      <vt:lpstr>Century Gothic</vt:lpstr>
      <vt:lpstr>Segoe Condensed</vt:lpstr>
      <vt:lpstr>Times New Roman</vt:lpstr>
      <vt:lpstr>Тема Office</vt:lpstr>
      <vt:lpstr>Поддержка социального предпринимательства</vt:lpstr>
      <vt:lpstr>Презентация PowerPoint</vt:lpstr>
      <vt:lpstr>Национальный проект по развитию предпринимательства  на 2021-2025 годы</vt:lpstr>
      <vt:lpstr>Презентация PowerPoint</vt:lpstr>
      <vt:lpstr>Презентация PowerPoint</vt:lpstr>
      <vt:lpstr>Презентация PowerPoint</vt:lpstr>
      <vt:lpstr>Презентация PowerPoint</vt:lpstr>
      <vt:lpstr>Благодарим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</dc:title>
  <dc:creator>Абзал Ағыбайұлы Қуандық</dc:creator>
  <cp:lastModifiedBy>Бекпаев Жалгас</cp:lastModifiedBy>
  <cp:revision>27</cp:revision>
  <cp:lastPrinted>2023-10-18T02:58:40Z</cp:lastPrinted>
  <dcterms:created xsi:type="dcterms:W3CDTF">2023-03-01T03:39:42Z</dcterms:created>
  <dcterms:modified xsi:type="dcterms:W3CDTF">2023-11-27T02:34:51Z</dcterms:modified>
</cp:coreProperties>
</file>